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33.xml" ContentType="application/vnd.openxmlformats-officedocument.presentationml.slide+xml"/>
  <Override PartName="/ppt/slides/slide44.xml" ContentType="application/vnd.openxmlformats-officedocument.presentationml.slide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Override PartName="/ppt/notesSlides/notesSlide20.xml" ContentType="application/vnd.openxmlformats-officedocument.presentationml.notesSlide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notesSlides/notesSlide18.xml" ContentType="application/vnd.openxmlformats-officedocument.presentationml.notesSlide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5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notesSlides/notesSlide21.xml" ContentType="application/vnd.openxmlformats-officedocument.presentationml.notesSlide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notesSlides/notesSlide22.xml" ContentType="application/vnd.openxmlformats-officedocument.presentationml.notesSlide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49"/>
  </p:notesMasterIdLst>
  <p:handoutMasterIdLst>
    <p:handoutMasterId r:id="rId50"/>
  </p:handoutMasterIdLst>
  <p:sldIdLst>
    <p:sldId id="256" r:id="rId2"/>
    <p:sldId id="258" r:id="rId3"/>
    <p:sldId id="259" r:id="rId4"/>
    <p:sldId id="260" r:id="rId5"/>
    <p:sldId id="299" r:id="rId6"/>
    <p:sldId id="298" r:id="rId7"/>
    <p:sldId id="313" r:id="rId8"/>
    <p:sldId id="314" r:id="rId9"/>
    <p:sldId id="315" r:id="rId10"/>
    <p:sldId id="316" r:id="rId11"/>
    <p:sldId id="317" r:id="rId12"/>
    <p:sldId id="318" r:id="rId13"/>
    <p:sldId id="320" r:id="rId14"/>
    <p:sldId id="321" r:id="rId15"/>
    <p:sldId id="322" r:id="rId16"/>
    <p:sldId id="323" r:id="rId17"/>
    <p:sldId id="324" r:id="rId18"/>
    <p:sldId id="325" r:id="rId19"/>
    <p:sldId id="326" r:id="rId20"/>
    <p:sldId id="339" r:id="rId21"/>
    <p:sldId id="328" r:id="rId22"/>
    <p:sldId id="330" r:id="rId23"/>
    <p:sldId id="335" r:id="rId24"/>
    <p:sldId id="336" r:id="rId25"/>
    <p:sldId id="337" r:id="rId26"/>
    <p:sldId id="307" r:id="rId27"/>
    <p:sldId id="308" r:id="rId28"/>
    <p:sldId id="309" r:id="rId29"/>
    <p:sldId id="269" r:id="rId30"/>
    <p:sldId id="301" r:id="rId31"/>
    <p:sldId id="302" r:id="rId32"/>
    <p:sldId id="303" r:id="rId33"/>
    <p:sldId id="304" r:id="rId34"/>
    <p:sldId id="305" r:id="rId35"/>
    <p:sldId id="306" r:id="rId36"/>
    <p:sldId id="276" r:id="rId37"/>
    <p:sldId id="277" r:id="rId38"/>
    <p:sldId id="278" r:id="rId39"/>
    <p:sldId id="279" r:id="rId40"/>
    <p:sldId id="280" r:id="rId41"/>
    <p:sldId id="281" r:id="rId42"/>
    <p:sldId id="282" r:id="rId43"/>
    <p:sldId id="283" r:id="rId44"/>
    <p:sldId id="284" r:id="rId45"/>
    <p:sldId id="285" r:id="rId46"/>
    <p:sldId id="286" r:id="rId47"/>
    <p:sldId id="287" r:id="rId48"/>
  </p:sldIdLst>
  <p:sldSz cx="9906000" cy="6858000" type="A4"/>
  <p:notesSz cx="6794500" cy="9906000"/>
  <p:custDataLst>
    <p:tags r:id="rId51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080"/>
    <a:srgbClr val="800000"/>
    <a:srgbClr val="008000"/>
    <a:srgbClr val="FFCC00"/>
    <a:srgbClr val="66FF33"/>
    <a:srgbClr val="FFFF00"/>
    <a:srgbClr val="6666FF"/>
    <a:srgbClr val="EAEAE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84" autoAdjust="0"/>
    <p:restoredTop sz="94217" autoAdjust="0"/>
  </p:normalViewPr>
  <p:slideViewPr>
    <p:cSldViewPr snapToGrid="0">
      <p:cViewPr varScale="1">
        <p:scale>
          <a:sx n="74" d="100"/>
          <a:sy n="74" d="100"/>
        </p:scale>
        <p:origin x="-916" y="-82"/>
      </p:cViewPr>
      <p:guideLst>
        <p:guide orient="horz" pos="4066"/>
        <p:guide orient="horz" pos="708"/>
        <p:guide orient="horz"/>
        <p:guide orient="horz" pos="2153"/>
        <p:guide orient="horz" pos="4319"/>
        <p:guide pos="3127"/>
        <p:guide pos="6070"/>
        <p:guide pos="157"/>
        <p:guide pos="3182"/>
        <p:guide pos="3065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2688" y="-72"/>
      </p:cViewPr>
      <p:guideLst>
        <p:guide orient="horz" pos="3121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29.xml"/><Relationship Id="rId13" Type="http://schemas.openxmlformats.org/officeDocument/2006/relationships/slide" Target="slides/slide40.xml"/><Relationship Id="rId18" Type="http://schemas.openxmlformats.org/officeDocument/2006/relationships/slide" Target="slides/slide47.xml"/><Relationship Id="rId3" Type="http://schemas.openxmlformats.org/officeDocument/2006/relationships/slide" Target="slides/slide4.xml"/><Relationship Id="rId7" Type="http://schemas.openxmlformats.org/officeDocument/2006/relationships/slide" Target="slides/slide28.xml"/><Relationship Id="rId12" Type="http://schemas.openxmlformats.org/officeDocument/2006/relationships/slide" Target="slides/slide39.xml"/><Relationship Id="rId17" Type="http://schemas.openxmlformats.org/officeDocument/2006/relationships/slide" Target="slides/slide44.xml"/><Relationship Id="rId2" Type="http://schemas.openxmlformats.org/officeDocument/2006/relationships/slide" Target="slides/slide3.xml"/><Relationship Id="rId16" Type="http://schemas.openxmlformats.org/officeDocument/2006/relationships/slide" Target="slides/slide43.xml"/><Relationship Id="rId1" Type="http://schemas.openxmlformats.org/officeDocument/2006/relationships/slide" Target="slides/slide2.xml"/><Relationship Id="rId6" Type="http://schemas.openxmlformats.org/officeDocument/2006/relationships/slide" Target="slides/slide27.xml"/><Relationship Id="rId11" Type="http://schemas.openxmlformats.org/officeDocument/2006/relationships/slide" Target="slides/slide38.xml"/><Relationship Id="rId5" Type="http://schemas.openxmlformats.org/officeDocument/2006/relationships/slide" Target="slides/slide26.xml"/><Relationship Id="rId15" Type="http://schemas.openxmlformats.org/officeDocument/2006/relationships/slide" Target="slides/slide42.xml"/><Relationship Id="rId10" Type="http://schemas.openxmlformats.org/officeDocument/2006/relationships/slide" Target="slides/slide37.xml"/><Relationship Id="rId4" Type="http://schemas.openxmlformats.org/officeDocument/2006/relationships/slide" Target="slides/slide6.xml"/><Relationship Id="rId9" Type="http://schemas.openxmlformats.org/officeDocument/2006/relationships/slide" Target="slides/slide36.xml"/><Relationship Id="rId14" Type="http://schemas.openxmlformats.org/officeDocument/2006/relationships/slide" Target="slides/slide4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trabalho\Mgoncalves\trabalho\mgoncalves\New_Products\BCs\In_app_advert\mobile_impression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pivotSource>
    <c:name>[mobile_impressions.xlsx]graph FCF!PivotTable4</c:name>
    <c:fmtId val="2"/>
  </c:pivotSource>
  <c:chart>
    <c:pivotFmts>
      <c:pivotFmt>
        <c:idx val="0"/>
        <c:marker>
          <c:symbol val="none"/>
        </c:marker>
      </c:pivotFmt>
      <c:pivotFmt>
        <c:idx val="1"/>
        <c:marker>
          <c:symbol val="none"/>
        </c:marker>
        <c:dLbl>
          <c:idx val="0"/>
          <c:delete val="1"/>
        </c:dLbl>
      </c:pivotFmt>
      <c:pivotFmt>
        <c:idx val="2"/>
        <c:dLbl>
          <c:idx val="0"/>
          <c:numFmt formatCode="#,##0" sourceLinked="0"/>
          <c:spPr/>
          <c:txPr>
            <a:bodyPr/>
            <a:lstStyle/>
            <a:p>
              <a:pPr>
                <a:defRPr sz="1200" b="1"/>
              </a:pPr>
              <a:endParaRPr lang="en-US"/>
            </a:p>
          </c:txPr>
          <c:showVal val="1"/>
        </c:dLbl>
      </c:pivotFmt>
      <c:pivotFmt>
        <c:idx val="3"/>
        <c:marker>
          <c:symbol val="none"/>
        </c:marker>
        <c:dLbl>
          <c:idx val="0"/>
          <c:delete val="1"/>
        </c:dLbl>
      </c:pivotFmt>
      <c:pivotFmt>
        <c:idx val="4"/>
        <c:marker>
          <c:symbol val="none"/>
        </c:marker>
        <c:dLbl>
          <c:idx val="0"/>
          <c:delete val="1"/>
        </c:dLbl>
      </c:pivotFmt>
      <c:pivotFmt>
        <c:idx val="5"/>
        <c:marker>
          <c:symbol val="none"/>
        </c:marker>
        <c:dLbl>
          <c:idx val="0"/>
          <c:delete val="1"/>
        </c:dLbl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</c:pivotFmt>
      <c:pivotFmt>
        <c:idx val="10"/>
        <c:dLbl>
          <c:idx val="0"/>
          <c:numFmt formatCode="#,##0" sourceLinked="0"/>
          <c:spPr/>
          <c:txPr>
            <a:bodyPr/>
            <a:lstStyle/>
            <a:p>
              <a:pPr>
                <a:defRPr sz="1200" b="1"/>
              </a:pPr>
              <a:endParaRPr lang="en-US"/>
            </a:p>
          </c:txPr>
          <c:showVal val="1"/>
        </c:dLbl>
      </c:pivotFmt>
    </c:pivotFmts>
    <c:plotArea>
      <c:layout/>
      <c:barChart>
        <c:barDir val="col"/>
        <c:grouping val="stacked"/>
        <c:ser>
          <c:idx val="0"/>
          <c:order val="0"/>
          <c:tx>
            <c:strRef>
              <c:f>'graph FCF'!$B$1:$B$2</c:f>
              <c:strCache>
                <c:ptCount val="1"/>
                <c:pt idx="0">
                  <c:v>Gross Revenue</c:v>
                </c:pt>
              </c:strCache>
            </c:strRef>
          </c:tx>
          <c:cat>
            <c:strRef>
              <c:f>'graph FCF'!$A$3:$A$6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strCache>
            </c:strRef>
          </c:cat>
          <c:val>
            <c:numRef>
              <c:f>'graph FCF'!$B$3:$B$6</c:f>
              <c:numCache>
                <c:formatCode>General</c:formatCode>
                <c:ptCount val="3"/>
                <c:pt idx="0">
                  <c:v>100.89000584999998</c:v>
                </c:pt>
                <c:pt idx="1">
                  <c:v>320.77451699999995</c:v>
                </c:pt>
                <c:pt idx="2">
                  <c:v>362.36420667516302</c:v>
                </c:pt>
              </c:numCache>
            </c:numRef>
          </c:val>
        </c:ser>
        <c:ser>
          <c:idx val="1"/>
          <c:order val="1"/>
          <c:tx>
            <c:strRef>
              <c:f>'graph FCF'!$C$1:$C$2</c:f>
              <c:strCache>
                <c:ptCount val="1"/>
                <c:pt idx="0">
                  <c:v>Investment</c:v>
                </c:pt>
              </c:strCache>
            </c:strRef>
          </c:tx>
          <c:cat>
            <c:strRef>
              <c:f>'graph FCF'!$A$3:$A$6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strCache>
            </c:strRef>
          </c:cat>
          <c:val>
            <c:numRef>
              <c:f>'graph FCF'!$C$3:$C$6</c:f>
              <c:numCache>
                <c:formatCode>General</c:formatCode>
                <c:ptCount val="3"/>
                <c:pt idx="0">
                  <c:v>-4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'graph FCF'!$D$1:$D$2</c:f>
              <c:strCache>
                <c:ptCount val="1"/>
                <c:pt idx="0">
                  <c:v>COGS</c:v>
                </c:pt>
              </c:strCache>
            </c:strRef>
          </c:tx>
          <c:cat>
            <c:strRef>
              <c:f>'graph FCF'!$A$3:$A$6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strCache>
            </c:strRef>
          </c:cat>
          <c:val>
            <c:numRef>
              <c:f>'graph FCF'!$D$3:$D$6</c:f>
              <c:numCache>
                <c:formatCode>General</c:formatCode>
                <c:ptCount val="3"/>
                <c:pt idx="0">
                  <c:v>-0.49800000000000011</c:v>
                </c:pt>
                <c:pt idx="1">
                  <c:v>-0.80515200000000009</c:v>
                </c:pt>
                <c:pt idx="2">
                  <c:v>-1.2811511999999998</c:v>
                </c:pt>
              </c:numCache>
            </c:numRef>
          </c:val>
        </c:ser>
        <c:ser>
          <c:idx val="3"/>
          <c:order val="3"/>
          <c:tx>
            <c:strRef>
              <c:f>'graph FCF'!$E$1:$E$2</c:f>
              <c:strCache>
                <c:ptCount val="1"/>
                <c:pt idx="0">
                  <c:v>COS</c:v>
                </c:pt>
              </c:strCache>
            </c:strRef>
          </c:tx>
          <c:cat>
            <c:strRef>
              <c:f>'graph FCF'!$A$3:$A$6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strCache>
            </c:strRef>
          </c:cat>
          <c:val>
            <c:numRef>
              <c:f>'graph FCF'!$E$3:$E$6</c:f>
              <c:numCache>
                <c:formatCode>General</c:formatCode>
                <c:ptCount val="3"/>
                <c:pt idx="0">
                  <c:v>-8.0712004679999989</c:v>
                </c:pt>
                <c:pt idx="1">
                  <c:v>-25.661961360000021</c:v>
                </c:pt>
                <c:pt idx="2">
                  <c:v>-28.989136534013014</c:v>
                </c:pt>
              </c:numCache>
            </c:numRef>
          </c:val>
        </c:ser>
        <c:overlap val="100"/>
        <c:axId val="43954176"/>
        <c:axId val="43955712"/>
      </c:barChart>
      <c:lineChart>
        <c:grouping val="standard"/>
        <c:ser>
          <c:idx val="4"/>
          <c:order val="4"/>
          <c:tx>
            <c:strRef>
              <c:f>'graph FCF'!$F$1:$F$2</c:f>
              <c:strCache>
                <c:ptCount val="1"/>
                <c:pt idx="0">
                  <c:v>FCF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Val val="1"/>
          </c:dLbls>
          <c:cat>
            <c:strRef>
              <c:f>'graph FCF'!$A$3:$A$6</c:f>
              <c:strCach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strCache>
            </c:strRef>
          </c:cat>
          <c:val>
            <c:numRef>
              <c:f>'graph FCF'!$F$3:$F$6</c:f>
              <c:numCache>
                <c:formatCode>General</c:formatCode>
                <c:ptCount val="3"/>
                <c:pt idx="0">
                  <c:v>52.320805382000003</c:v>
                </c:pt>
                <c:pt idx="1">
                  <c:v>346.62820902199996</c:v>
                </c:pt>
                <c:pt idx="2">
                  <c:v>678.72212796314989</c:v>
                </c:pt>
              </c:numCache>
            </c:numRef>
          </c:val>
        </c:ser>
        <c:marker val="1"/>
        <c:axId val="43954176"/>
        <c:axId val="43955712"/>
      </c:lineChart>
      <c:catAx>
        <c:axId val="43954176"/>
        <c:scaling>
          <c:orientation val="minMax"/>
        </c:scaling>
        <c:axPos val="b"/>
        <c:tickLblPos val="nextTo"/>
        <c:crossAx val="43955712"/>
        <c:crosses val="autoZero"/>
        <c:auto val="1"/>
        <c:lblAlgn val="ctr"/>
        <c:lblOffset val="100"/>
      </c:catAx>
      <c:valAx>
        <c:axId val="43955712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1100" b="1"/>
            </a:pPr>
            <a:endParaRPr lang="en-US"/>
          </a:p>
        </c:txPr>
        <c:crossAx val="43954176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sz="1050" b="1"/>
          </a:pPr>
          <a:endParaRPr lang="en-US"/>
        </a:p>
      </c:txPr>
    </c:legend>
    <c:plotVisOnly val="1"/>
    <c:dispBlanksAs val="gap"/>
  </c:chart>
  <c:externalData r:id="rId1"/>
</c:chartSpace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4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Freeform 7"/>
          <p:cNvSpPr>
            <a:spLocks noChangeAspect="1"/>
          </p:cNvSpPr>
          <p:nvPr/>
        </p:nvSpPr>
        <p:spPr bwMode="auto">
          <a:xfrm>
            <a:off x="1100138" y="9385300"/>
            <a:ext cx="398462" cy="257175"/>
          </a:xfrm>
          <a:custGeom>
            <a:avLst/>
            <a:gdLst>
              <a:gd name="T0" fmla="*/ 254 w 360"/>
              <a:gd name="T1" fmla="*/ 184 h 210"/>
              <a:gd name="T2" fmla="*/ 360 w 360"/>
              <a:gd name="T3" fmla="*/ 104 h 210"/>
              <a:gd name="T4" fmla="*/ 184 w 360"/>
              <a:gd name="T5" fmla="*/ 6 h 210"/>
              <a:gd name="T6" fmla="*/ 0 w 360"/>
              <a:gd name="T7" fmla="*/ 94 h 210"/>
              <a:gd name="T8" fmla="*/ 128 w 360"/>
              <a:gd name="T9" fmla="*/ 210 h 210"/>
              <a:gd name="T10" fmla="*/ 254 w 360"/>
              <a:gd name="T11" fmla="*/ 184 h 2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60" h="210">
                <a:moveTo>
                  <a:pt x="254" y="184"/>
                </a:moveTo>
                <a:cubicBezTo>
                  <a:pt x="298" y="168"/>
                  <a:pt x="360" y="160"/>
                  <a:pt x="360" y="104"/>
                </a:cubicBezTo>
                <a:cubicBezTo>
                  <a:pt x="360" y="48"/>
                  <a:pt x="270" y="12"/>
                  <a:pt x="184" y="6"/>
                </a:cubicBezTo>
                <a:cubicBezTo>
                  <a:pt x="98" y="0"/>
                  <a:pt x="0" y="26"/>
                  <a:pt x="0" y="94"/>
                </a:cubicBezTo>
                <a:cubicBezTo>
                  <a:pt x="0" y="156"/>
                  <a:pt x="56" y="210"/>
                  <a:pt x="128" y="210"/>
                </a:cubicBezTo>
                <a:cubicBezTo>
                  <a:pt x="200" y="210"/>
                  <a:pt x="210" y="200"/>
                  <a:pt x="254" y="184"/>
                </a:cubicBezTo>
                <a:close/>
              </a:path>
            </a:pathLst>
          </a:custGeom>
          <a:solidFill>
            <a:srgbClr val="ADAFB2"/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607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05225" y="334963"/>
            <a:ext cx="2005013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35981" rIns="0" bIns="359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pPr>
              <a:defRPr/>
            </a:pPr>
            <a:fld id="{5EE5B4CD-782D-47CC-A2D8-D5773548B47A}" type="datetime4">
              <a:rPr lang="en-GB"/>
              <a:pPr>
                <a:defRPr/>
              </a:pPr>
              <a:t>31 March 2011</a:t>
            </a:fld>
            <a:endParaRPr lang="en-GB"/>
          </a:p>
        </p:txBody>
      </p:sp>
      <p:sp>
        <p:nvSpPr>
          <p:cNvPr id="1607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98613" y="9282113"/>
            <a:ext cx="4110037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3975" rIns="0" bIns="53975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607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1074738" y="9282113"/>
            <a:ext cx="4064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3975" rIns="0" bIns="53975" numCol="1" anchor="b" anchorCtr="1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96D327F-5771-4C2D-81C7-63AC012922E7}" type="slidenum">
              <a:rPr lang="en-GB"/>
              <a:pPr>
                <a:defRPr/>
              </a:pPr>
              <a:t>‹#›</a:t>
            </a:fld>
            <a:endParaRPr lang="en-GB" sz="900"/>
          </a:p>
        </p:txBody>
      </p:sp>
      <p:pic>
        <p:nvPicPr>
          <p:cNvPr id="72710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87438" y="334963"/>
            <a:ext cx="1022350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Freeform 8"/>
          <p:cNvSpPr>
            <a:spLocks noChangeAspect="1"/>
          </p:cNvSpPr>
          <p:nvPr/>
        </p:nvSpPr>
        <p:spPr bwMode="auto">
          <a:xfrm>
            <a:off x="982663" y="9385300"/>
            <a:ext cx="398462" cy="257175"/>
          </a:xfrm>
          <a:custGeom>
            <a:avLst/>
            <a:gdLst>
              <a:gd name="T0" fmla="*/ 254 w 360"/>
              <a:gd name="T1" fmla="*/ 184 h 210"/>
              <a:gd name="T2" fmla="*/ 360 w 360"/>
              <a:gd name="T3" fmla="*/ 104 h 210"/>
              <a:gd name="T4" fmla="*/ 184 w 360"/>
              <a:gd name="T5" fmla="*/ 6 h 210"/>
              <a:gd name="T6" fmla="*/ 0 w 360"/>
              <a:gd name="T7" fmla="*/ 94 h 210"/>
              <a:gd name="T8" fmla="*/ 128 w 360"/>
              <a:gd name="T9" fmla="*/ 210 h 210"/>
              <a:gd name="T10" fmla="*/ 254 w 360"/>
              <a:gd name="T11" fmla="*/ 184 h 2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60" h="210">
                <a:moveTo>
                  <a:pt x="254" y="184"/>
                </a:moveTo>
                <a:cubicBezTo>
                  <a:pt x="298" y="168"/>
                  <a:pt x="360" y="160"/>
                  <a:pt x="360" y="104"/>
                </a:cubicBezTo>
                <a:cubicBezTo>
                  <a:pt x="360" y="48"/>
                  <a:pt x="270" y="12"/>
                  <a:pt x="184" y="6"/>
                </a:cubicBezTo>
                <a:cubicBezTo>
                  <a:pt x="98" y="0"/>
                  <a:pt x="0" y="26"/>
                  <a:pt x="0" y="94"/>
                </a:cubicBezTo>
                <a:cubicBezTo>
                  <a:pt x="0" y="156"/>
                  <a:pt x="56" y="210"/>
                  <a:pt x="128" y="210"/>
                </a:cubicBezTo>
                <a:cubicBezTo>
                  <a:pt x="200" y="210"/>
                  <a:pt x="210" y="200"/>
                  <a:pt x="254" y="184"/>
                </a:cubicBezTo>
                <a:close/>
              </a:path>
            </a:pathLst>
          </a:custGeom>
          <a:solidFill>
            <a:srgbClr val="ADAFB2"/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3011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1363"/>
            <a:ext cx="5365750" cy="3716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0600" y="4703763"/>
            <a:ext cx="4813300" cy="446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8307" rIns="0" bIns="483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noProof="0" smtClean="0"/>
              <a:t>Click to edit Master text styles</a:t>
            </a:r>
          </a:p>
          <a:p>
            <a:pPr lvl="1"/>
            <a:r>
              <a:rPr lang="en-AU" noProof="0" smtClean="0"/>
              <a:t>Second level</a:t>
            </a:r>
          </a:p>
          <a:p>
            <a:pPr lvl="2"/>
            <a:r>
              <a:rPr lang="en-AU" noProof="0" smtClean="0"/>
              <a:t>Third level</a:t>
            </a:r>
          </a:p>
          <a:p>
            <a:pPr lvl="3"/>
            <a:r>
              <a:rPr lang="en-AU" noProof="0" smtClean="0"/>
              <a:t>Fourth level</a:t>
            </a:r>
          </a:p>
          <a:p>
            <a:pPr lvl="4"/>
            <a:r>
              <a:rPr lang="en-AU" noProof="0" smtClean="0"/>
              <a:t>Fifth level</a:t>
            </a:r>
          </a:p>
        </p:txBody>
      </p:sp>
      <p:sp>
        <p:nvSpPr>
          <p:cNvPr id="10249" name="Rectangle 9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35981" rIns="0" bIns="359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pPr>
              <a:defRPr/>
            </a:pPr>
            <a:fld id="{9E8EC93C-618F-4762-9081-E8A0870C7AD1}" type="datetime4">
              <a:rPr lang="en-AU"/>
              <a:pPr>
                <a:defRPr/>
              </a:pPr>
              <a:t>31 March 2011</a:t>
            </a:fld>
            <a:endParaRPr lang="en-AU"/>
          </a:p>
        </p:txBody>
      </p:sp>
      <p:sp>
        <p:nvSpPr>
          <p:cNvPr id="10253" name="Rectangle 13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487488" y="9282113"/>
            <a:ext cx="2830512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5698" rIns="0" bIns="45698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10254" name="Rectangle 1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3975" rIns="0" bIns="53975" numCol="1" anchor="b" anchorCtr="1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C0F084A-D14F-4365-B2A3-EA6A89CF9C3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58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1143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+mn-cs"/>
      </a:defRPr>
    </a:lvl3pPr>
    <a:lvl4pPr marL="214313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+mn-cs"/>
      </a:defRPr>
    </a:lvl4pPr>
    <a:lvl5pPr marL="315913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5BE261D2-BD75-46A2-A709-9FBDAD57B479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44035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D32FA4-BC9D-4A53-9087-F01FE2D55880}" type="slidenum">
              <a:rPr lang="en-AU" smtClean="0"/>
              <a:pPr/>
              <a:t>1</a:t>
            </a:fld>
            <a:endParaRPr lang="en-AU" smtClean="0"/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32DD7734-B641-4DDE-A4E1-33A49CB9CB20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6323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2338EAC-349E-4FB5-A948-1F7168CD9529}" type="slidenum">
              <a:rPr lang="en-AU" smtClean="0"/>
              <a:pPr/>
              <a:t>30</a:t>
            </a:fld>
            <a:endParaRPr lang="en-AU" smtClean="0"/>
          </a:p>
        </p:txBody>
      </p:sp>
      <p:sp>
        <p:nvSpPr>
          <p:cNvPr id="56324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35" rIns="0" bIns="35935" anchor="b"/>
          <a:lstStyle/>
          <a:p>
            <a:pPr algn="r" defTabSz="912813" eaLnBrk="1" hangingPunct="1"/>
            <a:fld id="{41AEEA40-0613-4CD8-86F4-FAB05A828B00}" type="datetime4">
              <a:rPr lang="en-GB" sz="1000">
                <a:cs typeface="Arial" charset="0"/>
              </a:rPr>
              <a:pPr algn="r" defTabSz="912813" eaLnBrk="1" hangingPunct="1"/>
              <a:t>31 March 2011</a:t>
            </a:fld>
            <a:endParaRPr lang="en-GB">
              <a:cs typeface="Arial" charset="0"/>
            </a:endParaRPr>
          </a:p>
        </p:txBody>
      </p:sp>
      <p:sp>
        <p:nvSpPr>
          <p:cNvPr id="56325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04" rIns="0" bIns="53904" anchor="b" anchorCtr="1"/>
          <a:lstStyle/>
          <a:p>
            <a:pPr algn="r" defTabSz="912813" eaLnBrk="1" hangingPunct="1"/>
            <a:fld id="{F0D7917F-65BF-428A-920E-D0F8A39882F6}" type="slidenum">
              <a:rPr lang="en-GB" sz="1000">
                <a:solidFill>
                  <a:schemeClr val="bg1"/>
                </a:solidFill>
                <a:cs typeface="Arial" charset="0"/>
              </a:rPr>
              <a:pPr algn="r" defTabSz="912813" eaLnBrk="1" hangingPunct="1"/>
              <a:t>30</a:t>
            </a:fld>
            <a:endParaRPr lang="en-GB" sz="10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63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7550" y="744538"/>
            <a:ext cx="5362575" cy="3713162"/>
          </a:xfrm>
          <a:ln/>
        </p:spPr>
      </p:sp>
      <p:sp>
        <p:nvSpPr>
          <p:cNvPr id="563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0" y="4706938"/>
            <a:ext cx="4813300" cy="4454525"/>
          </a:xfrm>
          <a:noFill/>
          <a:ln/>
        </p:spPr>
        <p:txBody>
          <a:bodyPr tIns="48245" bIns="48245"/>
          <a:lstStyle/>
          <a:p>
            <a:pPr eaLnBrk="1" hangingPunct="1"/>
            <a:endParaRPr lang="en-A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F8E94CCE-405F-4233-A11C-C1F218710701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7347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3D8E9D1-D41C-48CA-A783-2DDE23D7923E}" type="slidenum">
              <a:rPr lang="en-AU" smtClean="0"/>
              <a:pPr/>
              <a:t>31</a:t>
            </a:fld>
            <a:endParaRPr lang="en-AU" smtClean="0"/>
          </a:p>
        </p:txBody>
      </p:sp>
      <p:sp>
        <p:nvSpPr>
          <p:cNvPr id="57348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35" rIns="0" bIns="35935" anchor="b"/>
          <a:lstStyle/>
          <a:p>
            <a:pPr algn="r" defTabSz="912813" eaLnBrk="1" hangingPunct="1"/>
            <a:fld id="{290EF725-1E98-4C4C-A3E4-FC6460DDF17E}" type="datetime4">
              <a:rPr lang="en-GB" sz="1000">
                <a:cs typeface="Arial" charset="0"/>
              </a:rPr>
              <a:pPr algn="r" defTabSz="912813" eaLnBrk="1" hangingPunct="1"/>
              <a:t>31 March 2011</a:t>
            </a:fld>
            <a:endParaRPr lang="en-GB">
              <a:cs typeface="Arial" charset="0"/>
            </a:endParaRPr>
          </a:p>
        </p:txBody>
      </p:sp>
      <p:sp>
        <p:nvSpPr>
          <p:cNvPr id="57349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04" rIns="0" bIns="53904" anchor="b" anchorCtr="1"/>
          <a:lstStyle/>
          <a:p>
            <a:pPr algn="r" defTabSz="912813" eaLnBrk="1" hangingPunct="1"/>
            <a:fld id="{C670D40D-EEF7-4894-8EAF-D910CF0FFB84}" type="slidenum">
              <a:rPr lang="en-GB" sz="1000">
                <a:solidFill>
                  <a:schemeClr val="bg1"/>
                </a:solidFill>
                <a:cs typeface="Arial" charset="0"/>
              </a:rPr>
              <a:pPr algn="r" defTabSz="912813" eaLnBrk="1" hangingPunct="1"/>
              <a:t>31</a:t>
            </a:fld>
            <a:endParaRPr lang="en-GB" sz="10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73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7550" y="744538"/>
            <a:ext cx="5362575" cy="3713162"/>
          </a:xfrm>
          <a:ln/>
        </p:spPr>
      </p:sp>
      <p:sp>
        <p:nvSpPr>
          <p:cNvPr id="573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0" y="4706938"/>
            <a:ext cx="4813300" cy="4454525"/>
          </a:xfrm>
          <a:noFill/>
          <a:ln/>
        </p:spPr>
        <p:txBody>
          <a:bodyPr tIns="48245" bIns="48245"/>
          <a:lstStyle/>
          <a:p>
            <a:pPr eaLnBrk="1" hangingPunct="1"/>
            <a:endParaRPr lang="en-A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2A9C6E1-6622-4952-A21E-CB0B1F85E90A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8371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98E2441-D56F-4721-B59C-4BEA316D5B9F}" type="slidenum">
              <a:rPr lang="en-AU" smtClean="0"/>
              <a:pPr/>
              <a:t>32</a:t>
            </a:fld>
            <a:endParaRPr lang="en-AU" smtClean="0"/>
          </a:p>
        </p:txBody>
      </p:sp>
      <p:sp>
        <p:nvSpPr>
          <p:cNvPr id="58372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35" rIns="0" bIns="35935" anchor="b"/>
          <a:lstStyle/>
          <a:p>
            <a:pPr algn="r" defTabSz="912813" eaLnBrk="1" hangingPunct="1"/>
            <a:fld id="{3B0F77F9-57CE-4066-87DB-EE06D646C667}" type="datetime4">
              <a:rPr lang="en-GB" sz="1000">
                <a:cs typeface="Arial" charset="0"/>
              </a:rPr>
              <a:pPr algn="r" defTabSz="912813" eaLnBrk="1" hangingPunct="1"/>
              <a:t>31 March 2011</a:t>
            </a:fld>
            <a:endParaRPr lang="en-GB">
              <a:cs typeface="Arial" charset="0"/>
            </a:endParaRPr>
          </a:p>
        </p:txBody>
      </p:sp>
      <p:sp>
        <p:nvSpPr>
          <p:cNvPr id="58373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04" rIns="0" bIns="53904" anchor="b" anchorCtr="1"/>
          <a:lstStyle/>
          <a:p>
            <a:pPr algn="r" defTabSz="912813" eaLnBrk="1" hangingPunct="1"/>
            <a:fld id="{53BDE169-9B83-443D-BFBC-CD262DD39720}" type="slidenum">
              <a:rPr lang="en-GB" sz="1000">
                <a:solidFill>
                  <a:schemeClr val="bg1"/>
                </a:solidFill>
                <a:cs typeface="Arial" charset="0"/>
              </a:rPr>
              <a:pPr algn="r" defTabSz="912813" eaLnBrk="1" hangingPunct="1"/>
              <a:t>32</a:t>
            </a:fld>
            <a:endParaRPr lang="en-GB" sz="10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83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7550" y="744538"/>
            <a:ext cx="5362575" cy="3713162"/>
          </a:xfrm>
          <a:ln/>
        </p:spPr>
      </p:sp>
      <p:sp>
        <p:nvSpPr>
          <p:cNvPr id="583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0" y="4706938"/>
            <a:ext cx="4813300" cy="4454525"/>
          </a:xfrm>
          <a:noFill/>
          <a:ln/>
        </p:spPr>
        <p:txBody>
          <a:bodyPr tIns="48245" bIns="48245"/>
          <a:lstStyle/>
          <a:p>
            <a:pPr eaLnBrk="1" hangingPunct="1"/>
            <a:endParaRPr lang="en-A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C813E5E-ACD9-4B50-8617-D62105E258B1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9395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C38E5F9-7049-4399-919E-FD8C70113E7D}" type="slidenum">
              <a:rPr lang="en-AU" smtClean="0"/>
              <a:pPr/>
              <a:t>33</a:t>
            </a:fld>
            <a:endParaRPr lang="en-AU" smtClean="0"/>
          </a:p>
        </p:txBody>
      </p:sp>
      <p:sp>
        <p:nvSpPr>
          <p:cNvPr id="59396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35" rIns="0" bIns="35935" anchor="b"/>
          <a:lstStyle/>
          <a:p>
            <a:pPr algn="r" defTabSz="912813" eaLnBrk="1" hangingPunct="1"/>
            <a:fld id="{2DFBE164-2D80-4A21-A020-80BCDB62EAE0}" type="datetime4">
              <a:rPr lang="en-GB" sz="1000">
                <a:cs typeface="Arial" charset="0"/>
              </a:rPr>
              <a:pPr algn="r" defTabSz="912813" eaLnBrk="1" hangingPunct="1"/>
              <a:t>31 March 2011</a:t>
            </a:fld>
            <a:endParaRPr lang="en-GB">
              <a:cs typeface="Arial" charset="0"/>
            </a:endParaRPr>
          </a:p>
        </p:txBody>
      </p:sp>
      <p:sp>
        <p:nvSpPr>
          <p:cNvPr id="59397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04" rIns="0" bIns="53904" anchor="b" anchorCtr="1"/>
          <a:lstStyle/>
          <a:p>
            <a:pPr algn="r" defTabSz="912813" eaLnBrk="1" hangingPunct="1"/>
            <a:fld id="{1D686051-878F-4F5C-8782-91A577F61F4B}" type="slidenum">
              <a:rPr lang="en-GB" sz="1000">
                <a:solidFill>
                  <a:schemeClr val="bg1"/>
                </a:solidFill>
                <a:cs typeface="Arial" charset="0"/>
              </a:rPr>
              <a:pPr algn="r" defTabSz="912813" eaLnBrk="1" hangingPunct="1"/>
              <a:t>33</a:t>
            </a:fld>
            <a:endParaRPr lang="en-GB" sz="10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93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7550" y="744538"/>
            <a:ext cx="5362575" cy="3713162"/>
          </a:xfrm>
          <a:ln/>
        </p:spPr>
      </p:sp>
      <p:sp>
        <p:nvSpPr>
          <p:cNvPr id="593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0" y="4706938"/>
            <a:ext cx="4813300" cy="4454525"/>
          </a:xfrm>
          <a:noFill/>
          <a:ln/>
        </p:spPr>
        <p:txBody>
          <a:bodyPr tIns="48245" bIns="48245"/>
          <a:lstStyle/>
          <a:p>
            <a:pPr eaLnBrk="1" hangingPunct="1"/>
            <a:endParaRPr lang="en-A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205C86C-59F3-41DD-BF80-37F030FDF510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0419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C6BBFDD-121D-46B5-A9AB-EF54254DD957}" type="slidenum">
              <a:rPr lang="en-AU" smtClean="0"/>
              <a:pPr/>
              <a:t>34</a:t>
            </a:fld>
            <a:endParaRPr lang="en-AU" smtClean="0"/>
          </a:p>
        </p:txBody>
      </p:sp>
      <p:sp>
        <p:nvSpPr>
          <p:cNvPr id="60420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35" rIns="0" bIns="35935" anchor="b"/>
          <a:lstStyle/>
          <a:p>
            <a:pPr algn="r" defTabSz="912813" eaLnBrk="1" hangingPunct="1"/>
            <a:fld id="{AC45D1AF-2706-4BF1-8106-AA160FE84134}" type="datetime4">
              <a:rPr lang="en-GB" sz="1000">
                <a:cs typeface="Arial" charset="0"/>
              </a:rPr>
              <a:pPr algn="r" defTabSz="912813" eaLnBrk="1" hangingPunct="1"/>
              <a:t>31 March 2011</a:t>
            </a:fld>
            <a:endParaRPr lang="en-GB">
              <a:cs typeface="Arial" charset="0"/>
            </a:endParaRPr>
          </a:p>
        </p:txBody>
      </p:sp>
      <p:sp>
        <p:nvSpPr>
          <p:cNvPr id="60421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04" rIns="0" bIns="53904" anchor="b" anchorCtr="1"/>
          <a:lstStyle/>
          <a:p>
            <a:pPr algn="r" defTabSz="912813" eaLnBrk="1" hangingPunct="1"/>
            <a:fld id="{154A4FD1-C648-4CFB-9E92-A9C4D0347C86}" type="slidenum">
              <a:rPr lang="en-GB" sz="1000">
                <a:solidFill>
                  <a:schemeClr val="bg1"/>
                </a:solidFill>
                <a:cs typeface="Arial" charset="0"/>
              </a:rPr>
              <a:pPr algn="r" defTabSz="912813" eaLnBrk="1" hangingPunct="1"/>
              <a:t>34</a:t>
            </a:fld>
            <a:endParaRPr lang="en-GB" sz="10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04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7550" y="744538"/>
            <a:ext cx="5362575" cy="3713162"/>
          </a:xfrm>
          <a:ln/>
        </p:spPr>
      </p:sp>
      <p:sp>
        <p:nvSpPr>
          <p:cNvPr id="604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0" y="4706938"/>
            <a:ext cx="4813300" cy="4454525"/>
          </a:xfrm>
          <a:noFill/>
          <a:ln/>
        </p:spPr>
        <p:txBody>
          <a:bodyPr tIns="48245" bIns="48245"/>
          <a:lstStyle/>
          <a:p>
            <a:pPr eaLnBrk="1" hangingPunct="1"/>
            <a:endParaRPr lang="en-A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14EF250A-A67C-4AD5-A3FB-492302DD1DE4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1443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3E9E88-B8AF-4600-B85F-B9370928CD70}" type="slidenum">
              <a:rPr lang="en-AU" smtClean="0"/>
              <a:pPr/>
              <a:t>35</a:t>
            </a:fld>
            <a:endParaRPr lang="en-AU" smtClean="0"/>
          </a:p>
        </p:txBody>
      </p:sp>
      <p:sp>
        <p:nvSpPr>
          <p:cNvPr id="61444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35" rIns="0" bIns="35935" anchor="b"/>
          <a:lstStyle/>
          <a:p>
            <a:pPr algn="r" defTabSz="912813" eaLnBrk="1" hangingPunct="1"/>
            <a:fld id="{D9DB7515-C30A-47F9-9983-FF5E97711B0B}" type="datetime4">
              <a:rPr lang="en-GB" sz="1000">
                <a:cs typeface="Arial" charset="0"/>
              </a:rPr>
              <a:pPr algn="r" defTabSz="912813" eaLnBrk="1" hangingPunct="1"/>
              <a:t>31 March 2011</a:t>
            </a:fld>
            <a:endParaRPr lang="en-GB">
              <a:cs typeface="Arial" charset="0"/>
            </a:endParaRPr>
          </a:p>
        </p:txBody>
      </p:sp>
      <p:sp>
        <p:nvSpPr>
          <p:cNvPr id="61445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04" rIns="0" bIns="53904" anchor="b" anchorCtr="1"/>
          <a:lstStyle/>
          <a:p>
            <a:pPr algn="r" defTabSz="912813" eaLnBrk="1" hangingPunct="1"/>
            <a:fld id="{6F6EBE4F-87B8-486E-84FE-71AAC42F1496}" type="slidenum">
              <a:rPr lang="en-GB" sz="1000">
                <a:solidFill>
                  <a:schemeClr val="bg1"/>
                </a:solidFill>
                <a:cs typeface="Arial" charset="0"/>
              </a:rPr>
              <a:pPr algn="r" defTabSz="912813" eaLnBrk="1" hangingPunct="1"/>
              <a:t>35</a:t>
            </a:fld>
            <a:endParaRPr lang="en-GB" sz="10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14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7550" y="744538"/>
            <a:ext cx="5362575" cy="3713162"/>
          </a:xfrm>
          <a:ln/>
        </p:spPr>
      </p:sp>
      <p:sp>
        <p:nvSpPr>
          <p:cNvPr id="614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0" y="4706938"/>
            <a:ext cx="4813300" cy="4454525"/>
          </a:xfrm>
          <a:noFill/>
          <a:ln/>
        </p:spPr>
        <p:txBody>
          <a:bodyPr tIns="48245" bIns="48245"/>
          <a:lstStyle/>
          <a:p>
            <a:pPr eaLnBrk="1" hangingPunct="1"/>
            <a:endParaRPr lang="en-AU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4052E9C5-E16C-46A3-AE73-3E6C6E99EAF8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2467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833FFD-3BD6-4821-8BDE-7E881BB2ECD6}" type="slidenum">
              <a:rPr lang="en-AU" smtClean="0"/>
              <a:pPr/>
              <a:t>36</a:t>
            </a:fld>
            <a:endParaRPr lang="en-AU" smtClean="0"/>
          </a:p>
        </p:txBody>
      </p:sp>
      <p:sp>
        <p:nvSpPr>
          <p:cNvPr id="624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246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AE1C748-2991-4DB2-B658-85FC89CAF21D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3491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D5D7C5B-BD74-4CED-8F5E-4FE4DBDD98EF}" type="slidenum">
              <a:rPr lang="en-AU" smtClean="0"/>
              <a:pPr/>
              <a:t>37</a:t>
            </a:fld>
            <a:endParaRPr lang="en-AU" smtClean="0"/>
          </a:p>
        </p:txBody>
      </p:sp>
      <p:sp>
        <p:nvSpPr>
          <p:cNvPr id="63492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81" rIns="0" bIns="35981" anchor="b"/>
          <a:lstStyle/>
          <a:p>
            <a:pPr algn="r" eaLnBrk="1" hangingPunct="1"/>
            <a:fld id="{2C8687B4-7DE8-4D5B-99D0-BD5A5869C1CB}" type="datetime4">
              <a:rPr lang="en-AU" sz="1000"/>
              <a:pPr algn="r" eaLnBrk="1" hangingPunct="1"/>
              <a:t>31 March 2011</a:t>
            </a:fld>
            <a:endParaRPr lang="en-AU"/>
          </a:p>
        </p:txBody>
      </p:sp>
      <p:sp>
        <p:nvSpPr>
          <p:cNvPr id="63493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75" rIns="0" bIns="53975" anchor="b" anchorCtr="1"/>
          <a:lstStyle/>
          <a:p>
            <a:pPr algn="r" eaLnBrk="1" hangingPunct="1"/>
            <a:fld id="{0AF3D4BF-1C98-4728-AC9B-0A0C581D3FA2}" type="slidenum">
              <a:rPr lang="en-AU" sz="1000">
                <a:solidFill>
                  <a:schemeClr val="bg1"/>
                </a:solidFill>
              </a:rPr>
              <a:pPr algn="r" eaLnBrk="1" hangingPunct="1"/>
              <a:t>37</a:t>
            </a:fld>
            <a:endParaRPr lang="en-AU" sz="1000">
              <a:solidFill>
                <a:schemeClr val="bg1"/>
              </a:solidFill>
            </a:endParaRPr>
          </a:p>
        </p:txBody>
      </p:sp>
      <p:sp>
        <p:nvSpPr>
          <p:cNvPr id="634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0482DED-3349-4541-AA00-85C4D52B53C3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4515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32F6009-813B-4D6B-AFF7-F71EA51D92EC}" type="slidenum">
              <a:rPr lang="en-AU" smtClean="0"/>
              <a:pPr/>
              <a:t>38</a:t>
            </a:fld>
            <a:endParaRPr lang="en-AU" smtClean="0"/>
          </a:p>
        </p:txBody>
      </p:sp>
      <p:sp>
        <p:nvSpPr>
          <p:cNvPr id="64516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81" rIns="0" bIns="35981" anchor="b"/>
          <a:lstStyle/>
          <a:p>
            <a:pPr algn="r" eaLnBrk="1" hangingPunct="1"/>
            <a:fld id="{F972FA2E-3852-4B38-9EB9-14AA0273416F}" type="datetime4">
              <a:rPr lang="en-AU" sz="1000"/>
              <a:pPr algn="r" eaLnBrk="1" hangingPunct="1"/>
              <a:t>31 March 2011</a:t>
            </a:fld>
            <a:endParaRPr lang="en-AU"/>
          </a:p>
        </p:txBody>
      </p:sp>
      <p:sp>
        <p:nvSpPr>
          <p:cNvPr id="64517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75" rIns="0" bIns="53975" anchor="b" anchorCtr="1"/>
          <a:lstStyle/>
          <a:p>
            <a:pPr algn="r" eaLnBrk="1" hangingPunct="1"/>
            <a:fld id="{E72545B3-562F-41B5-9E64-01340188F105}" type="slidenum">
              <a:rPr lang="en-AU" sz="1000">
                <a:solidFill>
                  <a:schemeClr val="bg1"/>
                </a:solidFill>
              </a:rPr>
              <a:pPr algn="r" eaLnBrk="1" hangingPunct="1"/>
              <a:t>38</a:t>
            </a:fld>
            <a:endParaRPr lang="en-AU" sz="1000">
              <a:solidFill>
                <a:schemeClr val="bg1"/>
              </a:solidFill>
            </a:endParaRPr>
          </a:p>
        </p:txBody>
      </p:sp>
      <p:sp>
        <p:nvSpPr>
          <p:cNvPr id="645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E5B2AA4B-E7B8-42CC-9984-833D877C1A05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5539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13FFA65-C921-4772-B0A8-92F899646B0C}" type="slidenum">
              <a:rPr lang="en-AU" smtClean="0"/>
              <a:pPr/>
              <a:t>39</a:t>
            </a:fld>
            <a:endParaRPr lang="en-AU" smtClean="0"/>
          </a:p>
        </p:txBody>
      </p:sp>
      <p:sp>
        <p:nvSpPr>
          <p:cNvPr id="65540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81" rIns="0" bIns="35981" anchor="b"/>
          <a:lstStyle/>
          <a:p>
            <a:pPr algn="r" eaLnBrk="1" hangingPunct="1"/>
            <a:fld id="{2DEAD29C-956F-4E44-9F7C-B2FC8FB6D147}" type="datetime4">
              <a:rPr lang="en-AU" sz="1000"/>
              <a:pPr algn="r" eaLnBrk="1" hangingPunct="1"/>
              <a:t>31 March 2011</a:t>
            </a:fld>
            <a:endParaRPr lang="en-AU"/>
          </a:p>
        </p:txBody>
      </p:sp>
      <p:sp>
        <p:nvSpPr>
          <p:cNvPr id="65541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75" rIns="0" bIns="53975" anchor="b" anchorCtr="1"/>
          <a:lstStyle/>
          <a:p>
            <a:pPr algn="r" eaLnBrk="1" hangingPunct="1"/>
            <a:fld id="{52262673-F40C-443E-B2F4-A1883592C1F3}" type="slidenum">
              <a:rPr lang="en-AU" sz="1000">
                <a:solidFill>
                  <a:schemeClr val="bg1"/>
                </a:solidFill>
              </a:rPr>
              <a:pPr algn="r" eaLnBrk="1" hangingPunct="1"/>
              <a:t>39</a:t>
            </a:fld>
            <a:endParaRPr lang="en-AU" sz="1000">
              <a:solidFill>
                <a:schemeClr val="bg1"/>
              </a:solidFill>
            </a:endParaRPr>
          </a:p>
        </p:txBody>
      </p:sp>
      <p:sp>
        <p:nvSpPr>
          <p:cNvPr id="655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98D5FC22-F1F6-4C88-8074-55DDF1CE5FF3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46083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D225C85-E293-400A-BEBF-739DD099E398}" type="slidenum">
              <a:rPr lang="en-AU" smtClean="0"/>
              <a:pPr/>
              <a:t>2</a:t>
            </a:fld>
            <a:endParaRPr lang="en-AU" smtClean="0"/>
          </a:p>
        </p:txBody>
      </p:sp>
      <p:sp>
        <p:nvSpPr>
          <p:cNvPr id="460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789B3A1D-596D-4C9F-8DF3-0BB2BD95618B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6563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DD5D1BF-3C80-4771-A728-0B6BFCF0FE6D}" type="slidenum">
              <a:rPr lang="en-AU" smtClean="0"/>
              <a:pPr/>
              <a:t>40</a:t>
            </a:fld>
            <a:endParaRPr lang="en-AU" smtClean="0"/>
          </a:p>
        </p:txBody>
      </p:sp>
      <p:sp>
        <p:nvSpPr>
          <p:cNvPr id="66564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81" rIns="0" bIns="35981" anchor="b"/>
          <a:lstStyle/>
          <a:p>
            <a:pPr algn="r" eaLnBrk="1" hangingPunct="1"/>
            <a:fld id="{92897E3C-DB5A-42BE-BC9E-50260E23DE1B}" type="datetime4">
              <a:rPr lang="en-AU" sz="1000"/>
              <a:pPr algn="r" eaLnBrk="1" hangingPunct="1"/>
              <a:t>31 March 2011</a:t>
            </a:fld>
            <a:endParaRPr lang="en-AU"/>
          </a:p>
        </p:txBody>
      </p:sp>
      <p:sp>
        <p:nvSpPr>
          <p:cNvPr id="66565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75" rIns="0" bIns="53975" anchor="b" anchorCtr="1"/>
          <a:lstStyle/>
          <a:p>
            <a:pPr algn="r" eaLnBrk="1" hangingPunct="1"/>
            <a:fld id="{6949D890-58AF-4BD0-B290-C693D8985C7E}" type="slidenum">
              <a:rPr lang="en-AU" sz="1000">
                <a:solidFill>
                  <a:schemeClr val="bg1"/>
                </a:solidFill>
              </a:rPr>
              <a:pPr algn="r" eaLnBrk="1" hangingPunct="1"/>
              <a:t>40</a:t>
            </a:fld>
            <a:endParaRPr lang="en-AU" sz="1000">
              <a:solidFill>
                <a:schemeClr val="bg1"/>
              </a:solidFill>
            </a:endParaRPr>
          </a:p>
        </p:txBody>
      </p:sp>
      <p:sp>
        <p:nvSpPr>
          <p:cNvPr id="665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FB398E87-3EB5-47CA-BFDA-ED42378BE3C8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7587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AA1BE07-2220-43CC-BE8B-45A236859FC8}" type="slidenum">
              <a:rPr lang="en-AU" smtClean="0"/>
              <a:pPr/>
              <a:t>41</a:t>
            </a:fld>
            <a:endParaRPr lang="en-AU" smtClean="0"/>
          </a:p>
        </p:txBody>
      </p:sp>
      <p:sp>
        <p:nvSpPr>
          <p:cNvPr id="675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D3E6C81A-F6CD-46B6-B884-833505AB9ABA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8611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961196A-98B2-4024-91CA-A822D1ED8547}" type="slidenum">
              <a:rPr lang="en-AU" smtClean="0"/>
              <a:pPr/>
              <a:t>42</a:t>
            </a:fld>
            <a:endParaRPr lang="en-AU" smtClean="0"/>
          </a:p>
        </p:txBody>
      </p:sp>
      <p:sp>
        <p:nvSpPr>
          <p:cNvPr id="6861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006AF328-50FF-49D8-9738-9BFE2D73184B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69635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CF9846-DB66-48F5-B630-82D3DEBB2BC4}" type="slidenum">
              <a:rPr lang="en-AU" smtClean="0"/>
              <a:pPr/>
              <a:t>43</a:t>
            </a:fld>
            <a:endParaRPr lang="en-AU" smtClean="0"/>
          </a:p>
        </p:txBody>
      </p:sp>
      <p:sp>
        <p:nvSpPr>
          <p:cNvPr id="696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F5E75F77-7B2D-4437-9677-73E89F207190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70659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3CD78D9-0561-4964-B83F-F3775A4B49AF}" type="slidenum">
              <a:rPr lang="en-AU" smtClean="0"/>
              <a:pPr/>
              <a:t>44</a:t>
            </a:fld>
            <a:endParaRPr lang="en-AU" smtClean="0"/>
          </a:p>
        </p:txBody>
      </p:sp>
      <p:sp>
        <p:nvSpPr>
          <p:cNvPr id="706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451ECB71-5587-4005-A440-035146887B45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71683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2769D92-7DCD-4A6C-9846-9DFE074A165C}" type="slidenum">
              <a:rPr lang="en-AU" smtClean="0"/>
              <a:pPr/>
              <a:t>47</a:t>
            </a:fld>
            <a:endParaRPr lang="en-AU" smtClean="0"/>
          </a:p>
        </p:txBody>
      </p:sp>
      <p:sp>
        <p:nvSpPr>
          <p:cNvPr id="716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56F28CFE-9D41-4F79-88B8-A073A93F0EEF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47107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41F635F-0FFB-4E94-882A-4B6013BB396A}" type="slidenum">
              <a:rPr lang="en-AU" smtClean="0"/>
              <a:pPr/>
              <a:t>3</a:t>
            </a:fld>
            <a:endParaRPr lang="en-AU" smtClean="0"/>
          </a:p>
        </p:txBody>
      </p:sp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4D32F092-7AEA-44C0-A100-2A745DCE2112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48131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1E56F8C-863C-4A99-86F4-B8CE4F62045F}" type="slidenum">
              <a:rPr lang="en-AU" smtClean="0"/>
              <a:pPr/>
              <a:t>4</a:t>
            </a:fld>
            <a:endParaRPr lang="en-AU" smtClean="0"/>
          </a:p>
        </p:txBody>
      </p:sp>
      <p:sp>
        <p:nvSpPr>
          <p:cNvPr id="481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9FD16CA2-71A4-4A69-9B03-5CF5B5056097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49155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2312A11-2A1B-4AA1-82F0-9AD3AB9C0A4E}" type="slidenum">
              <a:rPr lang="en-AU" smtClean="0"/>
              <a:pPr/>
              <a:t>6</a:t>
            </a:fld>
            <a:endParaRPr lang="en-AU" smtClean="0"/>
          </a:p>
        </p:txBody>
      </p:sp>
      <p:sp>
        <p:nvSpPr>
          <p:cNvPr id="4915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FB707629-5A50-47FF-A2E7-A1C7E0B3E55E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1203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40A5F34-3DD7-4689-A062-EE054EF29D58}" type="slidenum">
              <a:rPr lang="en-AU" smtClean="0"/>
              <a:pPr/>
              <a:t>26</a:t>
            </a:fld>
            <a:endParaRPr lang="en-AU" smtClean="0"/>
          </a:p>
        </p:txBody>
      </p:sp>
      <p:sp>
        <p:nvSpPr>
          <p:cNvPr id="51204" name="Rectangle 9"/>
          <p:cNvSpPr txBox="1">
            <a:spLocks noGrp="1" noChangeArrowheads="1"/>
          </p:cNvSpPr>
          <p:nvPr/>
        </p:nvSpPr>
        <p:spPr bwMode="auto">
          <a:xfrm>
            <a:off x="4600575" y="9282113"/>
            <a:ext cx="11969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5981" rIns="0" bIns="35981" anchor="b"/>
          <a:lstStyle/>
          <a:p>
            <a:pPr algn="r" eaLnBrk="1" hangingPunct="1"/>
            <a:fld id="{2789BD70-19EC-445D-ADA1-9298A21BC745}" type="datetime4">
              <a:rPr lang="en-AU" sz="1000"/>
              <a:pPr algn="r" eaLnBrk="1" hangingPunct="1"/>
              <a:t>31 March 2011</a:t>
            </a:fld>
            <a:endParaRPr lang="en-AU"/>
          </a:p>
        </p:txBody>
      </p:sp>
      <p:sp>
        <p:nvSpPr>
          <p:cNvPr id="51205" name="Rectangle 14"/>
          <p:cNvSpPr txBox="1">
            <a:spLocks noGrp="1" noChangeArrowheads="1"/>
          </p:cNvSpPr>
          <p:nvPr/>
        </p:nvSpPr>
        <p:spPr bwMode="auto">
          <a:xfrm>
            <a:off x="955675" y="9282113"/>
            <a:ext cx="4016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53975" rIns="0" bIns="53975" anchor="b" anchorCtr="1"/>
          <a:lstStyle/>
          <a:p>
            <a:pPr algn="r" eaLnBrk="1" hangingPunct="1"/>
            <a:fld id="{05537B85-FAE8-44C2-8EA9-C856F0C8EE55}" type="slidenum">
              <a:rPr lang="en-AU" sz="1000">
                <a:solidFill>
                  <a:schemeClr val="bg1"/>
                </a:solidFill>
              </a:rPr>
              <a:pPr algn="r" eaLnBrk="1" hangingPunct="1"/>
              <a:t>26</a:t>
            </a:fld>
            <a:endParaRPr lang="en-AU" sz="1000">
              <a:solidFill>
                <a:schemeClr val="bg1"/>
              </a:solidFill>
            </a:endParaRPr>
          </a:p>
        </p:txBody>
      </p:sp>
      <p:sp>
        <p:nvSpPr>
          <p:cNvPr id="512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FB02C941-31E8-45EA-B00A-9D04591CF1DF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3251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1DDB419-5373-4C76-A552-810898D777DD}" type="slidenum">
              <a:rPr lang="en-AU" smtClean="0"/>
              <a:pPr/>
              <a:t>27</a:t>
            </a:fld>
            <a:endParaRPr lang="en-AU" smtClean="0"/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DCD772B-2335-45EA-B38F-645C2F144A2E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4275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B93E14C-362A-4968-80EF-8CDBE23E8DDF}" type="slidenum">
              <a:rPr lang="en-AU" smtClean="0"/>
              <a:pPr/>
              <a:t>28</a:t>
            </a:fld>
            <a:endParaRPr lang="en-AU" smtClean="0"/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9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AFF0BE74-F8FE-46B6-A363-E73C7A255A6E}" type="datetime4">
              <a:rPr lang="en-AU" smtClean="0"/>
              <a:pPr/>
              <a:t>31 March 2011</a:t>
            </a:fld>
            <a:endParaRPr lang="en-AU" sz="1200" smtClean="0"/>
          </a:p>
        </p:txBody>
      </p:sp>
      <p:sp>
        <p:nvSpPr>
          <p:cNvPr id="55299" name="Rectangle 1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0EC5385-C3D8-4F14-B9E7-49B80C414971}" type="slidenum">
              <a:rPr lang="en-AU" smtClean="0"/>
              <a:pPr/>
              <a:t>29</a:t>
            </a:fld>
            <a:endParaRPr lang="en-AU" smtClean="0"/>
          </a:p>
        </p:txBody>
      </p:sp>
      <p:sp>
        <p:nvSpPr>
          <p:cNvPr id="553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6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042" name="think-cell Slide" r:id="rId6" imgW="0" imgH="0" progId="">
              <p:embed/>
            </p:oleObj>
          </a:graphicData>
        </a:graphic>
      </p:graphicFrame>
      <p:pic>
        <p:nvPicPr>
          <p:cNvPr id="5" name="Picture 61" descr="1680orange-lowerrigh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/>
          <a:srcRect l="11655" t="2568"/>
          <a:stretch>
            <a:fillRect/>
          </a:stretch>
        </p:blipFill>
        <p:spPr bwMode="auto">
          <a:xfrm>
            <a:off x="0" y="0"/>
            <a:ext cx="9963150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22713" y="5218113"/>
            <a:ext cx="5578475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54000"/>
          <a:lstStyle/>
          <a:p>
            <a:pPr algn="l" eaLnBrk="1" hangingPunct="1">
              <a:lnSpc>
                <a:spcPct val="90000"/>
              </a:lnSpc>
            </a:pPr>
            <a:endParaRPr lang="en-GB" sz="180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419100" y="3429000"/>
            <a:ext cx="9069388" cy="1619250"/>
          </a:xfrm>
        </p:spPr>
        <p:txBody>
          <a:bodyPr tIns="54000" bIns="54000"/>
          <a:lstStyle>
            <a:lvl1pPr marL="0" indent="0" algn="ctr">
              <a:buFontTx/>
              <a:buNone/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AU"/>
              <a:t>Click to edit Master sub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9100" y="1162050"/>
            <a:ext cx="9069388" cy="2276475"/>
          </a:xfrm>
        </p:spPr>
        <p:txBody>
          <a:bodyPr tIns="54000" rIns="0" bIns="54000"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2149475" y="6297613"/>
            <a:ext cx="5580063" cy="360362"/>
          </a:xfrm>
        </p:spPr>
        <p:txBody>
          <a:bodyPr wrap="none" tIns="54000" bIns="54000" anchor="b"/>
          <a:lstStyle>
            <a:lvl1pPr>
              <a:defRPr sz="14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A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72C31-7030-4EFB-9266-EBA5174BE120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B3DBC6-A3CE-446A-82FF-EE595873FA1A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96150" y="88900"/>
            <a:ext cx="2347913" cy="61420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0825" y="88900"/>
            <a:ext cx="6892925" cy="61420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173D8F-6337-4E6E-9BB6-EB81B6384BC3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DCB4BD-D7A5-4956-969F-F98787038C0D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8900"/>
            <a:ext cx="829151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0825" y="1098550"/>
            <a:ext cx="9393238" cy="5132388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DFB375-2922-4B25-B0E9-CCFB8496474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B846B-A375-4EF1-A3F7-A7A11367B98F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8900"/>
            <a:ext cx="829151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0825" y="1098550"/>
            <a:ext cx="9393238" cy="5132388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565BF-32A6-45DD-9B52-BFCF07EC5494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B2682-410C-4387-BF10-4FB2E3CEB930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4FAC89-1A2B-4C44-AB92-619B772D9B1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A87793-9BBA-4561-B6C6-83CB0CA3232B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D2C52E-DDF0-478E-AF93-1F91A7C9D8A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E77262-190C-4C1D-A801-E2013532851E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5" y="1098550"/>
            <a:ext cx="4619625" cy="51323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2850" y="1098550"/>
            <a:ext cx="4621213" cy="51323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7E8E7B-5F02-4CB7-B812-A14656C8DCB8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5FF27B-1AE2-43B7-B329-A88545DA9A08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A0B202-336B-47D2-9C23-038F4172FE3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8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F692A6-ED8C-4FB0-9156-5254B73933D1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9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FAD18F-2EB4-4F1B-BB29-147A9BFF9BEE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81B761-EE7A-43F7-93DB-F62682232E6E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5E56CA-73C4-45F5-BBC2-1B53E4A42655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3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DCFA3F-B299-460C-B923-BDAB370927E5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F56EE8-FFA3-480C-B471-90D7032ED35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7F59D-256C-410D-A328-AB6504107D6F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BFE2D9-8CA4-4AFD-8ED9-6A48F0D1ACEB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B73EEF-7C15-4837-8078-2771F7E9F3D4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image" Target="../media/image3.w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image" Target="../media/image4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Freeform 37"/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233363" y="6477000"/>
            <a:ext cx="460375" cy="268288"/>
          </a:xfrm>
          <a:custGeom>
            <a:avLst/>
            <a:gdLst>
              <a:gd name="T0" fmla="*/ 254 w 360"/>
              <a:gd name="T1" fmla="*/ 184 h 210"/>
              <a:gd name="T2" fmla="*/ 360 w 360"/>
              <a:gd name="T3" fmla="*/ 104 h 210"/>
              <a:gd name="T4" fmla="*/ 184 w 360"/>
              <a:gd name="T5" fmla="*/ 6 h 210"/>
              <a:gd name="T6" fmla="*/ 0 w 360"/>
              <a:gd name="T7" fmla="*/ 94 h 210"/>
              <a:gd name="T8" fmla="*/ 128 w 360"/>
              <a:gd name="T9" fmla="*/ 210 h 210"/>
              <a:gd name="T10" fmla="*/ 254 w 360"/>
              <a:gd name="T11" fmla="*/ 184 h 2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60" h="210">
                <a:moveTo>
                  <a:pt x="254" y="184"/>
                </a:moveTo>
                <a:cubicBezTo>
                  <a:pt x="298" y="168"/>
                  <a:pt x="360" y="160"/>
                  <a:pt x="360" y="104"/>
                </a:cubicBezTo>
                <a:cubicBezTo>
                  <a:pt x="360" y="48"/>
                  <a:pt x="270" y="12"/>
                  <a:pt x="184" y="6"/>
                </a:cubicBezTo>
                <a:cubicBezTo>
                  <a:pt x="98" y="0"/>
                  <a:pt x="0" y="26"/>
                  <a:pt x="0" y="94"/>
                </a:cubicBezTo>
                <a:cubicBezTo>
                  <a:pt x="0" y="156"/>
                  <a:pt x="56" y="210"/>
                  <a:pt x="128" y="210"/>
                </a:cubicBezTo>
                <a:cubicBezTo>
                  <a:pt x="200" y="210"/>
                  <a:pt x="210" y="200"/>
                  <a:pt x="254" y="184"/>
                </a:cubicBez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106" name="Rectangle 10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196850" y="6477000"/>
            <a:ext cx="4683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247C626-BACB-4D43-85A7-4223372D8B31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250825" y="1098550"/>
            <a:ext cx="9393238" cy="513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</a:p>
        </p:txBody>
      </p:sp>
      <p:graphicFrame>
        <p:nvGraphicFramePr>
          <p:cNvPr id="1030" name="Rectangle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0" name="think-cell Slide" r:id="rId23" imgW="0" imgH="0" progId="">
              <p:embed/>
            </p:oleObj>
          </a:graphicData>
        </a:graphic>
      </p:graphicFrame>
      <p:pic>
        <p:nvPicPr>
          <p:cNvPr id="1031" name="Picture 40" descr="logo_small_PPT"/>
          <p:cNvPicPr preferRelativeResize="0"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/>
          <a:srcRect/>
          <a:stretch>
            <a:fillRect/>
          </a:stretch>
        </p:blipFill>
        <p:spPr bwMode="auto">
          <a:xfrm>
            <a:off x="8709025" y="6440488"/>
            <a:ext cx="9461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41" name="Rectangle 45"/>
          <p:cNvSpPr>
            <a:spLocks noGrp="1" noChangeArrowheads="1"/>
          </p:cNvSpPr>
          <p:nvPr>
            <p:ph type="dt" sz="half" idx="2"/>
            <p:custDataLst>
              <p:tags r:id="rId21"/>
            </p:custDataLst>
          </p:nvPr>
        </p:nvSpPr>
        <p:spPr bwMode="auto">
          <a:xfrm>
            <a:off x="757238" y="6489700"/>
            <a:ext cx="2297112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900">
                <a:solidFill>
                  <a:srgbClr val="5F5F5F"/>
                </a:solidFill>
              </a:defRPr>
            </a:lvl1pPr>
          </a:lstStyle>
          <a:p>
            <a:pPr>
              <a:defRPr/>
            </a:pPr>
            <a:fld id="{C7321F9E-59F9-4EDA-B24D-6606E1CD76DC}" type="datetime4">
              <a:rPr lang="en-US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4142" name="Rectangle 46"/>
          <p:cNvSpPr>
            <a:spLocks noGrp="1" noChangeArrowheads="1"/>
          </p:cNvSpPr>
          <p:nvPr>
            <p:ph type="ftr" sz="quarter" idx="3"/>
            <p:custDataLst>
              <p:tags r:id="rId22"/>
            </p:custDataLst>
          </p:nvPr>
        </p:nvSpPr>
        <p:spPr bwMode="auto">
          <a:xfrm>
            <a:off x="757238" y="6607175"/>
            <a:ext cx="4138612" cy="130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900" smtClean="0">
                <a:solidFill>
                  <a:srgbClr val="5F5F5F"/>
                </a:solidFill>
              </a:defRPr>
            </a:lvl1pPr>
          </a:lstStyle>
          <a:p>
            <a:pPr>
              <a:defRPr/>
            </a:pPr>
            <a:r>
              <a:rPr lang="en-GB"/>
              <a:t>20100312 BC - Virtual Paper</a:t>
            </a:r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287338" indent="-287338" algn="l" rtl="0" eaLnBrk="0" fontAlgn="base" hangingPunct="0">
        <a:spcBef>
          <a:spcPct val="10000"/>
        </a:spcBef>
        <a:spcAft>
          <a:spcPct val="0"/>
        </a:spcAft>
        <a:buSzPct val="70000"/>
        <a:buBlip>
          <a:blip r:embed="rId25"/>
        </a:buBlip>
        <a:defRPr>
          <a:solidFill>
            <a:srgbClr val="4D4D4D"/>
          </a:solidFill>
          <a:latin typeface="+mn-lt"/>
          <a:ea typeface="+mn-ea"/>
          <a:cs typeface="+mn-cs"/>
        </a:defRPr>
      </a:lvl1pPr>
      <a:lvl2pPr marL="592138" indent="-303213" algn="l" rtl="0" eaLnBrk="0" fontAlgn="base" hangingPunct="0">
        <a:spcBef>
          <a:spcPct val="10000"/>
        </a:spcBef>
        <a:spcAft>
          <a:spcPct val="0"/>
        </a:spcAft>
        <a:buClr>
          <a:schemeClr val="tx1"/>
        </a:buClr>
        <a:buSzPct val="70000"/>
        <a:buBlip>
          <a:blip r:embed="rId26"/>
        </a:buBlip>
        <a:defRPr sz="1500">
          <a:solidFill>
            <a:srgbClr val="4D4D4D"/>
          </a:solidFill>
          <a:latin typeface="+mn-lt"/>
        </a:defRPr>
      </a:lvl2pPr>
      <a:lvl3pPr marL="871538" indent="-277813" algn="l" rtl="0" eaLnBrk="0" fontAlgn="base" hangingPunct="0">
        <a:spcBef>
          <a:spcPct val="10000"/>
        </a:spcBef>
        <a:spcAft>
          <a:spcPct val="0"/>
        </a:spcAft>
        <a:buSzPct val="70000"/>
        <a:buBlip>
          <a:blip r:embed="rId27"/>
        </a:buBlip>
        <a:defRPr sz="1200">
          <a:solidFill>
            <a:schemeClr val="tx2"/>
          </a:solidFill>
          <a:latin typeface="+mn-lt"/>
        </a:defRPr>
      </a:lvl3pPr>
      <a:lvl4pPr marL="1143000" indent="-269875" algn="l" rtl="0" eaLnBrk="0" fontAlgn="base" hangingPunct="0">
        <a:spcBef>
          <a:spcPct val="10000"/>
        </a:spcBef>
        <a:spcAft>
          <a:spcPct val="0"/>
        </a:spcAft>
        <a:buSzPct val="60000"/>
        <a:buBlip>
          <a:blip r:embed="rId25"/>
        </a:buBlip>
        <a:defRPr sz="1200">
          <a:solidFill>
            <a:schemeClr val="tx2"/>
          </a:solidFill>
          <a:latin typeface="+mn-lt"/>
        </a:defRPr>
      </a:lvl4pPr>
      <a:lvl5pPr marL="1409700" indent="-265113" algn="l" rtl="0" eaLnBrk="0" fontAlgn="base" hangingPunct="0">
        <a:spcBef>
          <a:spcPct val="10000"/>
        </a:spcBef>
        <a:spcAft>
          <a:spcPct val="0"/>
        </a:spcAft>
        <a:buSzPct val="60000"/>
        <a:buBlip>
          <a:blip r:embed="rId27"/>
        </a:buBlip>
        <a:defRPr sz="1200">
          <a:solidFill>
            <a:schemeClr val="tx2"/>
          </a:solidFill>
          <a:latin typeface="+mn-lt"/>
        </a:defRPr>
      </a:lvl5pPr>
      <a:lvl6pPr marL="1866900" indent="-265113" algn="l" rtl="0" fontAlgn="base">
        <a:spcBef>
          <a:spcPct val="10000"/>
        </a:spcBef>
        <a:spcAft>
          <a:spcPct val="0"/>
        </a:spcAft>
        <a:buSzPct val="60000"/>
        <a:buBlip>
          <a:blip r:embed="rId27"/>
        </a:buBlip>
        <a:defRPr sz="1200">
          <a:solidFill>
            <a:schemeClr val="tx2"/>
          </a:solidFill>
          <a:latin typeface="+mn-lt"/>
        </a:defRPr>
      </a:lvl6pPr>
      <a:lvl7pPr marL="2324100" indent="-265113" algn="l" rtl="0" fontAlgn="base">
        <a:spcBef>
          <a:spcPct val="10000"/>
        </a:spcBef>
        <a:spcAft>
          <a:spcPct val="0"/>
        </a:spcAft>
        <a:buSzPct val="60000"/>
        <a:buBlip>
          <a:blip r:embed="rId27"/>
        </a:buBlip>
        <a:defRPr sz="1200">
          <a:solidFill>
            <a:schemeClr val="tx2"/>
          </a:solidFill>
          <a:latin typeface="+mn-lt"/>
        </a:defRPr>
      </a:lvl7pPr>
      <a:lvl8pPr marL="2781300" indent="-265113" algn="l" rtl="0" fontAlgn="base">
        <a:spcBef>
          <a:spcPct val="10000"/>
        </a:spcBef>
        <a:spcAft>
          <a:spcPct val="0"/>
        </a:spcAft>
        <a:buSzPct val="60000"/>
        <a:buBlip>
          <a:blip r:embed="rId27"/>
        </a:buBlip>
        <a:defRPr sz="1200">
          <a:solidFill>
            <a:schemeClr val="tx2"/>
          </a:solidFill>
          <a:latin typeface="+mn-lt"/>
        </a:defRPr>
      </a:lvl8pPr>
      <a:lvl9pPr marL="3238500" indent="-265113" algn="l" rtl="0" fontAlgn="base">
        <a:spcBef>
          <a:spcPct val="10000"/>
        </a:spcBef>
        <a:spcAft>
          <a:spcPct val="0"/>
        </a:spcAft>
        <a:buSzPct val="60000"/>
        <a:buBlip>
          <a:blip r:embed="rId27"/>
        </a:buBlip>
        <a:defRPr sz="12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5" Type="http://schemas.openxmlformats.org/officeDocument/2006/relationships/package" Target="../embeddings/Microsoft_Office_Excel_Worksheet3.xlsx"/><Relationship Id="rId4" Type="http://schemas.openxmlformats.org/officeDocument/2006/relationships/package" Target="../embeddings/Microsoft_Office_Excel_Worksheet2.xlsx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package" Target="../embeddings/Microsoft_Office_Excel_Worksheet4.xlsx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package" Target="../embeddings/Microsoft_Office_Excel_Worksheet5.xlsx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2" Type="http://schemas.openxmlformats.org/officeDocument/2006/relationships/tags" Target="../tags/tag82.xml"/><Relationship Id="rId16" Type="http://schemas.openxmlformats.org/officeDocument/2006/relationships/image" Target="../media/image30.emf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notesSlide" Target="../notesSlides/notesSlide6.xml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31.emf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32.emf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3.xml"/><Relationship Id="rId7" Type="http://schemas.openxmlformats.org/officeDocument/2006/relationships/oleObject" Target="../embeddings/oleObject5.bin"/><Relationship Id="rId2" Type="http://schemas.openxmlformats.org/officeDocument/2006/relationships/tags" Target="../tags/tag52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118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0.xml"/><Relationship Id="rId10" Type="http://schemas.openxmlformats.org/officeDocument/2006/relationships/image" Target="../media/image34.emf"/><Relationship Id="rId4" Type="http://schemas.openxmlformats.org/officeDocument/2006/relationships/tags" Target="../tags/tag119.xml"/><Relationship Id="rId9" Type="http://schemas.openxmlformats.org/officeDocument/2006/relationships/image" Target="../media/image33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tags" Target="../tags/tag123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5.xml"/><Relationship Id="rId10" Type="http://schemas.openxmlformats.org/officeDocument/2006/relationships/image" Target="../media/image2.wmf"/><Relationship Id="rId4" Type="http://schemas.openxmlformats.org/officeDocument/2006/relationships/tags" Target="../tags/tag124.xml"/><Relationship Id="rId9" Type="http://schemas.openxmlformats.org/officeDocument/2006/relationships/image" Target="../media/image36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28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30.xml"/><Relationship Id="rId10" Type="http://schemas.openxmlformats.org/officeDocument/2006/relationships/image" Target="../media/image2.wmf"/><Relationship Id="rId4" Type="http://schemas.openxmlformats.org/officeDocument/2006/relationships/tags" Target="../tags/tag129.xml"/><Relationship Id="rId9" Type="http://schemas.openxmlformats.org/officeDocument/2006/relationships/image" Target="../media/image3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2.wmf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39.emf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9.bin"/><Relationship Id="rId2" Type="http://schemas.openxmlformats.org/officeDocument/2006/relationships/tags" Target="../tags/tag134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Microsoft_Office_Excel_97-2003_Worksheet2.xls"/><Relationship Id="rId4" Type="http://schemas.openxmlformats.org/officeDocument/2006/relationships/tags" Target="../tags/tag136.xml"/><Relationship Id="rId9" Type="http://schemas.openxmlformats.org/officeDocument/2006/relationships/oleObject" Target="../embeddings/Microsoft_Office_Excel_97-2003_Worksheet1.xls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137.xml"/><Relationship Id="rId16" Type="http://schemas.openxmlformats.org/officeDocument/2006/relationships/chart" Target="../charts/chart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5" Type="http://schemas.openxmlformats.org/officeDocument/2006/relationships/image" Target="../media/image43.emf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oleObject" Target="../embeddings/oleObject10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44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tags" Target="../tags/tag152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51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tags" Target="../tags/tag15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8.xml"/><Relationship Id="rId4" Type="http://schemas.openxmlformats.org/officeDocument/2006/relationships/tags" Target="../tags/tag15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w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tags" Target="../tags/tag61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image" Target="../media/image8.emf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notesSlide" Target="../notesSlides/notesSlide5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wmf"/><Relationship Id="rId5" Type="http://schemas.openxmlformats.org/officeDocument/2006/relationships/image" Target="../media/image13.wmf"/><Relationship Id="rId4" Type="http://schemas.openxmlformats.org/officeDocument/2006/relationships/image" Target="../media/image12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wmf"/><Relationship Id="rId5" Type="http://schemas.openxmlformats.org/officeDocument/2006/relationships/image" Target="../media/image13.wmf"/><Relationship Id="rId4" Type="http://schemas.openxmlformats.org/officeDocument/2006/relationships/image" Target="../media/image12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6" imgW="0" imgH="0" progId="">
              <p:embed/>
            </p:oleObj>
          </a:graphicData>
        </a:graphic>
      </p:graphicFrame>
      <p:sp>
        <p:nvSpPr>
          <p:cNvPr id="3075" name="Rectangle 3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AU" dirty="0" smtClean="0"/>
              <a:t>Business Case Approval</a:t>
            </a:r>
            <a:br>
              <a:rPr lang="en-AU" dirty="0" smtClean="0"/>
            </a:br>
            <a:r>
              <a:rPr lang="en-AU" b="1" dirty="0" smtClean="0"/>
              <a:t>In-App Advertising</a:t>
            </a:r>
          </a:p>
        </p:txBody>
      </p:sp>
      <p:sp>
        <p:nvSpPr>
          <p:cNvPr id="307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467725" y="554038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1" hangingPunct="1"/>
            <a:endParaRPr lang="en-GB" sz="180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746125" y="3429000"/>
            <a:ext cx="8350250" cy="1619250"/>
          </a:xfrm>
          <a:noFill/>
        </p:spPr>
        <p:txBody>
          <a:bodyPr/>
          <a:lstStyle/>
          <a:p>
            <a:pPr eaLnBrk="1" hangingPunct="1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gray">
          <a:xfrm>
            <a:off x="7404100" y="166688"/>
            <a:ext cx="2376488" cy="725487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tx1"/>
            </a:solidFill>
            <a:miter lim="800000"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2400"/>
              <a:t>FOR DECIS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56" name="Picture 2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44458" y="255664"/>
            <a:ext cx="1391046" cy="158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Product – </a:t>
            </a:r>
            <a:r>
              <a:rPr lang="pt-PT" dirty="0" smtClean="0"/>
              <a:t>Format</a:t>
            </a:r>
            <a:r>
              <a:rPr lang="pt-PT" dirty="0"/>
              <a:t/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3892" y="1124745"/>
            <a:ext cx="9393238" cy="5038725"/>
          </a:xfrm>
        </p:spPr>
        <p:txBody>
          <a:bodyPr/>
          <a:lstStyle/>
          <a:p>
            <a:r>
              <a:rPr lang="nl-BE" sz="2000" dirty="0" smtClean="0"/>
              <a:t>Sizes of banners</a:t>
            </a:r>
          </a:p>
          <a:p>
            <a:pPr lvl="1"/>
            <a:r>
              <a:rPr lang="nl-BE" sz="1800" dirty="0" smtClean="0"/>
              <a:t>Portrait oriented banners are business standard</a:t>
            </a:r>
          </a:p>
          <a:p>
            <a:pPr marL="288925" lvl="1" indent="0">
              <a:buNone/>
            </a:pPr>
            <a:endParaRPr lang="nl-BE" sz="1800" dirty="0"/>
          </a:p>
          <a:p>
            <a:pPr lvl="1"/>
            <a:endParaRPr lang="nl-BE" sz="1800" dirty="0" smtClean="0"/>
          </a:p>
          <a:p>
            <a:pPr lvl="1"/>
            <a:endParaRPr lang="nl-BE" sz="1800" dirty="0" smtClean="0"/>
          </a:p>
          <a:p>
            <a:pPr lvl="1"/>
            <a:endParaRPr lang="nl-BE" sz="1800" dirty="0" smtClean="0"/>
          </a:p>
          <a:p>
            <a:pPr lvl="1"/>
            <a:endParaRPr lang="nl-BE" sz="1800" dirty="0"/>
          </a:p>
          <a:p>
            <a:pPr lvl="1"/>
            <a:endParaRPr lang="nl-BE" sz="1800" dirty="0" smtClean="0"/>
          </a:p>
          <a:p>
            <a:pPr lvl="1"/>
            <a:endParaRPr lang="nl-BE" sz="1800" dirty="0"/>
          </a:p>
        </p:txBody>
      </p:sp>
      <p:sp>
        <p:nvSpPr>
          <p:cNvPr id="10" name="Right Arrow 9"/>
          <p:cNvSpPr/>
          <p:nvPr/>
        </p:nvSpPr>
        <p:spPr bwMode="auto">
          <a:xfrm>
            <a:off x="8337433" y="1491461"/>
            <a:ext cx="702079" cy="432048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reflection blurRad="6350" stA="50000" endA="275" endPos="40000" dist="101600" dir="5400000" sy="-100000" algn="bl" rotWithShape="0"/>
          </a:effectLst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3"/>
              </a:buBlip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pic>
        <p:nvPicPr>
          <p:cNvPr id="18465" name="Picture 3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55666"/>
          <a:stretch/>
        </p:blipFill>
        <p:spPr bwMode="auto">
          <a:xfrm>
            <a:off x="272481" y="2779216"/>
            <a:ext cx="9412380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983725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Product – </a:t>
            </a:r>
            <a:r>
              <a:rPr lang="pt-PT" dirty="0" smtClean="0"/>
              <a:t>Destination</a:t>
            </a:r>
            <a:r>
              <a:rPr lang="pt-PT" dirty="0"/>
              <a:t/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PT" dirty="0" smtClean="0"/>
              <a:t>Yellow Landing </a:t>
            </a:r>
            <a:r>
              <a:rPr lang="pt-PT" dirty="0"/>
              <a:t>Page </a:t>
            </a:r>
            <a:endParaRPr lang="pt-PT" dirty="0" smtClean="0"/>
          </a:p>
          <a:p>
            <a:pPr lvl="1"/>
            <a:r>
              <a:rPr lang="pt-PT" dirty="0" smtClean="0"/>
              <a:t>When clicked upon, the user is transferred to the advertiser’s mobile Detail Page, enabling the user to use all available functionalities (map, find contact data, click to call, ...)</a:t>
            </a:r>
          </a:p>
          <a:p>
            <a:endParaRPr lang="pt-PT" dirty="0" smtClean="0"/>
          </a:p>
          <a:p>
            <a:r>
              <a:rPr lang="pt-PT" dirty="0" smtClean="0"/>
              <a:t>Mobile MySite</a:t>
            </a:r>
          </a:p>
          <a:p>
            <a:pPr lvl="1"/>
            <a:r>
              <a:rPr lang="pt-PT" dirty="0" smtClean="0"/>
              <a:t>Designated destination for mobile bannering </a:t>
            </a:r>
          </a:p>
          <a:p>
            <a:pPr lvl="1"/>
            <a:r>
              <a:rPr lang="pt-PT" dirty="0" smtClean="0"/>
              <a:t>User remains within Truvo products</a:t>
            </a:r>
            <a:endParaRPr lang="pt-PT" dirty="0"/>
          </a:p>
          <a:p>
            <a:endParaRPr lang="pt-PT" dirty="0" smtClean="0"/>
          </a:p>
          <a:p>
            <a:r>
              <a:rPr lang="pt-PT" dirty="0" smtClean="0"/>
              <a:t>Customer’s mobile website</a:t>
            </a:r>
          </a:p>
          <a:p>
            <a:pPr lvl="1"/>
            <a:r>
              <a:rPr lang="pt-PT" dirty="0" smtClean="0"/>
              <a:t>Customer must have a website that is optimized for mobile</a:t>
            </a:r>
            <a:endParaRPr lang="pt-PT" dirty="0"/>
          </a:p>
          <a:p>
            <a:pPr marL="314325" lvl="1" indent="0">
              <a:buNone/>
            </a:pPr>
            <a:endParaRPr lang="pt-PT" dirty="0"/>
          </a:p>
          <a:p>
            <a:r>
              <a:rPr lang="pt-PT" dirty="0"/>
              <a:t>Click to </a:t>
            </a:r>
            <a:r>
              <a:rPr lang="pt-PT" dirty="0" smtClean="0"/>
              <a:t>Call</a:t>
            </a:r>
          </a:p>
          <a:p>
            <a:pPr lvl="1"/>
            <a:r>
              <a:rPr lang="pt-PT" dirty="0" smtClean="0"/>
              <a:t>Direct Link to Click 2 Call feature </a:t>
            </a:r>
          </a:p>
          <a:p>
            <a:endParaRPr lang="pt-PT" dirty="0"/>
          </a:p>
          <a:p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xmlns="" val="608455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Product – </a:t>
            </a:r>
            <a:r>
              <a:rPr lang="pt-PT" dirty="0" smtClean="0"/>
              <a:t>Targeting</a:t>
            </a:r>
            <a:r>
              <a:rPr lang="pt-PT" dirty="0"/>
              <a:t/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smtClean="0"/>
              <a:t>Contextual targeting </a:t>
            </a:r>
          </a:p>
          <a:p>
            <a:pPr lvl="1"/>
            <a:r>
              <a:rPr lang="nl-BE" dirty="0" smtClean="0"/>
              <a:t>Home Page (fixed placement)</a:t>
            </a:r>
          </a:p>
          <a:p>
            <a:pPr lvl="1"/>
            <a:r>
              <a:rPr lang="nl-BE" dirty="0" smtClean="0"/>
              <a:t>Heading (displayed in the results page)</a:t>
            </a:r>
          </a:p>
          <a:p>
            <a:pPr lvl="2"/>
            <a:r>
              <a:rPr lang="nl-BE" dirty="0" smtClean="0"/>
              <a:t>The advertiser will be able to target individual categories, as per the set of headings in BE/ IE and PT</a:t>
            </a:r>
          </a:p>
          <a:p>
            <a:pPr lvl="2"/>
            <a:r>
              <a:rPr lang="nl-BE" dirty="0" smtClean="0"/>
              <a:t>Customers signing in Heading targeting, have </a:t>
            </a:r>
            <a:r>
              <a:rPr lang="nl-BE" b="1" dirty="0" smtClean="0"/>
              <a:t>no exclusivity</a:t>
            </a:r>
            <a:r>
              <a:rPr lang="nl-BE" dirty="0" smtClean="0"/>
              <a:t>. They are guaranteed  a </a:t>
            </a:r>
            <a:r>
              <a:rPr lang="nl-BE" sz="1400" b="1" dirty="0" smtClean="0"/>
              <a:t>min. # 33% share of impressions </a:t>
            </a:r>
            <a:r>
              <a:rPr lang="nl-BE" dirty="0" smtClean="0"/>
              <a:t>for the heading that was purchased. If no other advertisers are found, the (single) advertiser signing in, gets 100% </a:t>
            </a:r>
          </a:p>
          <a:p>
            <a:pPr lvl="2"/>
            <a:endParaRPr lang="nl-BE" dirty="0" smtClean="0"/>
          </a:p>
          <a:p>
            <a:pPr lvl="2"/>
            <a:r>
              <a:rPr lang="nl-BE" dirty="0" smtClean="0"/>
              <a:t>Contextual Targeting </a:t>
            </a:r>
            <a:r>
              <a:rPr lang="pt-PT" dirty="0" smtClean="0"/>
              <a:t>(heading / segment)  - how it works:</a:t>
            </a:r>
            <a:r>
              <a:rPr lang="nl-BE" dirty="0" smtClean="0"/>
              <a:t>	 			</a:t>
            </a:r>
          </a:p>
          <a:p>
            <a:pPr marL="288925" lvl="1" indent="0">
              <a:buNone/>
            </a:pPr>
            <a:r>
              <a:rPr lang="nl-BE" dirty="0"/>
              <a:t>	</a:t>
            </a:r>
            <a:r>
              <a:rPr lang="nl-BE" dirty="0" smtClean="0"/>
              <a:t>			 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649253" y="1894908"/>
            <a:ext cx="292445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dirty="0" smtClean="0"/>
          </a:p>
          <a:p>
            <a:endParaRPr lang="nl-BE" sz="1400" dirty="0"/>
          </a:p>
        </p:txBody>
      </p:sp>
      <p:graphicFrame>
        <p:nvGraphicFramePr>
          <p:cNvPr id="88067" name="Object 3"/>
          <p:cNvGraphicFramePr>
            <a:graphicFrameLocks noChangeAspect="1"/>
          </p:cNvGraphicFramePr>
          <p:nvPr/>
        </p:nvGraphicFramePr>
        <p:xfrm>
          <a:off x="1966913" y="3362325"/>
          <a:ext cx="5214937" cy="2808288"/>
        </p:xfrm>
        <a:graphic>
          <a:graphicData uri="http://schemas.openxmlformats.org/presentationml/2006/ole">
            <p:oleObj spid="_x0000_s88067" name="Worksheet" r:id="rId3" imgW="3568924" imgH="2081454" progId="Excel.Sheet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826878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1592" y="3721558"/>
            <a:ext cx="2052468" cy="1476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385" y="188641"/>
            <a:ext cx="9393238" cy="792163"/>
          </a:xfrm>
        </p:spPr>
        <p:txBody>
          <a:bodyPr/>
          <a:lstStyle/>
          <a:p>
            <a:r>
              <a:rPr lang="pt-PT" dirty="0"/>
              <a:t>Product – </a:t>
            </a:r>
            <a:r>
              <a:rPr lang="pt-PT" dirty="0" smtClean="0"/>
              <a:t>Targeting</a:t>
            </a:r>
            <a:r>
              <a:rPr lang="pt-PT" dirty="0"/>
              <a:t/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4472" y="1124745"/>
            <a:ext cx="9393238" cy="5038725"/>
          </a:xfrm>
        </p:spPr>
        <p:txBody>
          <a:bodyPr/>
          <a:lstStyle/>
          <a:p>
            <a:r>
              <a:rPr lang="nl-BE" dirty="0" smtClean="0"/>
              <a:t>Banner Targeting Parameters - details</a:t>
            </a:r>
            <a:endParaRPr lang="pt-PT" dirty="0"/>
          </a:p>
          <a:p>
            <a:pPr lvl="1"/>
            <a:r>
              <a:rPr lang="pt-PT" dirty="0" smtClean="0"/>
              <a:t>Geo</a:t>
            </a:r>
          </a:p>
          <a:p>
            <a:pPr lvl="2"/>
            <a:r>
              <a:rPr lang="pt-PT" b="1" dirty="0" smtClean="0"/>
              <a:t>Zone (BE) / County (IE) / District (PT)</a:t>
            </a:r>
          </a:p>
          <a:p>
            <a:pPr lvl="3"/>
            <a:r>
              <a:rPr lang="pt-PT" dirty="0" smtClean="0"/>
              <a:t>BE: Takes into consideration the 36 </a:t>
            </a:r>
            <a:r>
              <a:rPr lang="pt-PT" b="1" dirty="0" smtClean="0"/>
              <a:t>areas</a:t>
            </a:r>
            <a:r>
              <a:rPr lang="pt-PT" dirty="0" smtClean="0"/>
              <a:t> that have been defined for WPP</a:t>
            </a:r>
          </a:p>
          <a:p>
            <a:pPr lvl="3"/>
            <a:r>
              <a:rPr lang="pt-PT" dirty="0" smtClean="0"/>
              <a:t>IE: </a:t>
            </a:r>
            <a:r>
              <a:rPr lang="pt-PT" dirty="0"/>
              <a:t>Takes into consideration the </a:t>
            </a:r>
            <a:r>
              <a:rPr lang="pt-PT" dirty="0" smtClean="0"/>
              <a:t>32 </a:t>
            </a:r>
            <a:r>
              <a:rPr lang="pt-PT" b="1" dirty="0" smtClean="0"/>
              <a:t>Counties</a:t>
            </a:r>
            <a:endParaRPr lang="pt-PT" dirty="0" smtClean="0"/>
          </a:p>
          <a:p>
            <a:pPr lvl="3"/>
            <a:r>
              <a:rPr lang="pt-PT" dirty="0" smtClean="0"/>
              <a:t>PT: </a:t>
            </a:r>
            <a:r>
              <a:rPr lang="pt-PT" dirty="0"/>
              <a:t>Takes into consideration </a:t>
            </a:r>
            <a:r>
              <a:rPr lang="pt-PT" dirty="0" smtClean="0"/>
              <a:t>the 20 Portuguese </a:t>
            </a:r>
            <a:r>
              <a:rPr lang="pt-PT" b="1" dirty="0" smtClean="0"/>
              <a:t>Districts (including islands)</a:t>
            </a:r>
          </a:p>
          <a:p>
            <a:pPr lvl="4"/>
            <a:endParaRPr lang="pt-PT" dirty="0"/>
          </a:p>
          <a:p>
            <a:pPr lvl="2"/>
            <a:r>
              <a:rPr lang="pt-PT" b="1" dirty="0" smtClean="0"/>
              <a:t>National</a:t>
            </a:r>
            <a:r>
              <a:rPr lang="pt-PT" dirty="0" smtClean="0"/>
              <a:t> level </a:t>
            </a: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62865" y="3307151"/>
            <a:ext cx="1612459" cy="1860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137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7464714" y="3257378"/>
            <a:ext cx="1448377" cy="22951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5381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27" name="Picture 1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61312" y="190823"/>
            <a:ext cx="1775566" cy="3135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Product – </a:t>
            </a:r>
            <a:r>
              <a:rPr lang="pt-PT" dirty="0" smtClean="0"/>
              <a:t>Targeting</a:t>
            </a:r>
            <a:r>
              <a:rPr lang="pt-PT" dirty="0"/>
              <a:t/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4472" y="1125662"/>
            <a:ext cx="9393238" cy="5038725"/>
          </a:xfrm>
        </p:spPr>
        <p:txBody>
          <a:bodyPr/>
          <a:lstStyle/>
          <a:p>
            <a:r>
              <a:rPr lang="nl-BE" dirty="0" smtClean="0"/>
              <a:t>Geo targeting BE</a:t>
            </a:r>
          </a:p>
          <a:p>
            <a:pPr marL="288925" lvl="1" indent="0">
              <a:buNone/>
            </a:pPr>
            <a:r>
              <a:rPr lang="nl-BE" dirty="0" smtClean="0"/>
              <a:t>Local Area level 	  		</a:t>
            </a:r>
          </a:p>
          <a:p>
            <a:pPr marL="288925" lvl="1" indent="0">
              <a:buNone/>
            </a:pPr>
            <a:r>
              <a:rPr lang="nl-BE" dirty="0"/>
              <a:t>	</a:t>
            </a:r>
            <a:r>
              <a:rPr lang="nl-BE" dirty="0" smtClean="0"/>
              <a:t>			 </a:t>
            </a:r>
            <a:endParaRPr lang="en-US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01862703"/>
              </p:ext>
            </p:extLst>
          </p:nvPr>
        </p:nvGraphicFramePr>
        <p:xfrm>
          <a:off x="973989" y="3084790"/>
          <a:ext cx="3042338" cy="3512563"/>
        </p:xfrm>
        <a:graphic>
          <a:graphicData uri="http://schemas.openxmlformats.org/presentationml/2006/ole">
            <p:oleObj spid="_x0000_s90115" name="Worksheet" r:id="rId4" imgW="3076730" imgH="3848040" progId="Excel.Sheet.12">
              <p:embed/>
            </p:oleObj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524954328"/>
              </p:ext>
            </p:extLst>
          </p:nvPr>
        </p:nvGraphicFramePr>
        <p:xfrm>
          <a:off x="4094335" y="3372821"/>
          <a:ext cx="3120348" cy="3219183"/>
        </p:xfrm>
        <a:graphic>
          <a:graphicData uri="http://schemas.openxmlformats.org/presentationml/2006/ole">
            <p:oleObj spid="_x0000_s90116" name="Worksheet" r:id="rId5" imgW="3076730" imgH="3438553" progId="Excel.Sheet.12">
              <p:embed/>
            </p:oleObj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28516" y="1831870"/>
            <a:ext cx="5437569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b="1" dirty="0" smtClean="0"/>
              <a:t>36 areas, defined for WPP rescope </a:t>
            </a:r>
          </a:p>
          <a:p>
            <a:r>
              <a:rPr lang="nl-BE" sz="1200" dirty="0" smtClean="0"/>
              <a:t>3 area tiers, defined by share of subscribers vs. national # subscr</a:t>
            </a:r>
          </a:p>
          <a:p>
            <a:r>
              <a:rPr lang="nl-BE" sz="1200" dirty="0" smtClean="0"/>
              <a:t>These 3 area tiers are not to be considered as a differentiator for 2012 price setting.  They are to be considered as an additional geotargeting parameter in a second phase of the project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1622796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2481" y="332656"/>
            <a:ext cx="9070181" cy="586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 l="-23792" r="65608" b="-12428"/>
          <a:stretch>
            <a:fillRect/>
          </a:stretch>
        </p:blipFill>
        <p:spPr bwMode="auto">
          <a:xfrm>
            <a:off x="8541399" y="337208"/>
            <a:ext cx="1073951" cy="631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844581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Product – what it is</a:t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6" y="1052736"/>
            <a:ext cx="9393238" cy="5038725"/>
          </a:xfrm>
        </p:spPr>
        <p:txBody>
          <a:bodyPr/>
          <a:lstStyle/>
          <a:p>
            <a:r>
              <a:rPr lang="nl-BE" dirty="0" smtClean="0"/>
              <a:t>Geo targeting IE</a:t>
            </a:r>
          </a:p>
          <a:p>
            <a:pPr marL="288925" lvl="1" indent="0">
              <a:buNone/>
            </a:pPr>
            <a:r>
              <a:rPr lang="nl-BE" dirty="0" smtClean="0"/>
              <a:t>County level 	</a:t>
            </a:r>
          </a:p>
          <a:p>
            <a:pPr marL="288925" lvl="1" indent="0">
              <a:buNone/>
            </a:pPr>
            <a:r>
              <a:rPr lang="nl-BE" dirty="0"/>
              <a:t>	</a:t>
            </a:r>
            <a:r>
              <a:rPr lang="nl-BE" dirty="0" smtClean="0"/>
              <a:t>			 </a:t>
            </a:r>
            <a:endParaRPr 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50109" y="1671375"/>
            <a:ext cx="3517914" cy="4059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6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67720019"/>
              </p:ext>
            </p:extLst>
          </p:nvPr>
        </p:nvGraphicFramePr>
        <p:xfrm>
          <a:off x="6279147" y="650800"/>
          <a:ext cx="2886321" cy="6117127"/>
        </p:xfrm>
        <a:graphic>
          <a:graphicData uri="http://schemas.openxmlformats.org/presentationml/2006/ole">
            <p:oleObj spid="_x0000_s91139" name="Worksheet" r:id="rId4" imgW="3438603" imgH="7896329" progId="Excel.Sheet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2597978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Product – what it is</a:t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6" y="1052736"/>
            <a:ext cx="9393238" cy="5038725"/>
          </a:xfrm>
        </p:spPr>
        <p:txBody>
          <a:bodyPr/>
          <a:lstStyle/>
          <a:p>
            <a:r>
              <a:rPr lang="nl-BE" dirty="0" smtClean="0"/>
              <a:t>Geo targeting</a:t>
            </a:r>
          </a:p>
          <a:p>
            <a:pPr lvl="1"/>
            <a:r>
              <a:rPr lang="nl-BE" dirty="0" smtClean="0"/>
              <a:t>District level :</a:t>
            </a:r>
          </a:p>
          <a:p>
            <a:pPr lvl="1"/>
            <a:endParaRPr lang="nl-BE" dirty="0" smtClean="0"/>
          </a:p>
          <a:p>
            <a:pPr lvl="2"/>
            <a:r>
              <a:rPr lang="pt-BR" dirty="0" smtClean="0"/>
              <a:t>Açores </a:t>
            </a:r>
          </a:p>
          <a:p>
            <a:pPr lvl="2"/>
            <a:r>
              <a:rPr lang="pt-BR" dirty="0" smtClean="0"/>
              <a:t>Aveiro </a:t>
            </a:r>
          </a:p>
          <a:p>
            <a:pPr lvl="2"/>
            <a:r>
              <a:rPr lang="pt-BR" dirty="0" smtClean="0"/>
              <a:t>Beja </a:t>
            </a:r>
          </a:p>
          <a:p>
            <a:pPr lvl="2"/>
            <a:r>
              <a:rPr lang="pt-BR" dirty="0" smtClean="0"/>
              <a:t>Braga </a:t>
            </a:r>
          </a:p>
          <a:p>
            <a:pPr lvl="2"/>
            <a:r>
              <a:rPr lang="pt-BR" dirty="0" smtClean="0"/>
              <a:t>Bragança </a:t>
            </a:r>
          </a:p>
          <a:p>
            <a:pPr lvl="2"/>
            <a:r>
              <a:rPr lang="pt-BR" dirty="0" smtClean="0"/>
              <a:t>Castelo Branco </a:t>
            </a:r>
          </a:p>
          <a:p>
            <a:pPr lvl="2"/>
            <a:r>
              <a:rPr lang="pt-BR" dirty="0" smtClean="0"/>
              <a:t>Coimbra </a:t>
            </a:r>
          </a:p>
          <a:p>
            <a:pPr lvl="2"/>
            <a:r>
              <a:rPr lang="pt-BR" dirty="0" smtClean="0"/>
              <a:t>Évora </a:t>
            </a:r>
          </a:p>
          <a:p>
            <a:pPr lvl="2"/>
            <a:r>
              <a:rPr lang="pt-BR" dirty="0" smtClean="0"/>
              <a:t>Faro </a:t>
            </a:r>
          </a:p>
          <a:p>
            <a:pPr lvl="2"/>
            <a:r>
              <a:rPr lang="pt-BR" dirty="0" smtClean="0"/>
              <a:t>Guarda </a:t>
            </a:r>
          </a:p>
          <a:p>
            <a:pPr lvl="2"/>
            <a:r>
              <a:rPr lang="pt-BR" dirty="0" smtClean="0"/>
              <a:t>Leiria </a:t>
            </a:r>
          </a:p>
          <a:p>
            <a:pPr lvl="2"/>
            <a:r>
              <a:rPr lang="pt-BR" dirty="0" smtClean="0"/>
              <a:t>Lisboa </a:t>
            </a:r>
          </a:p>
          <a:p>
            <a:pPr lvl="2"/>
            <a:r>
              <a:rPr lang="pt-BR" dirty="0" smtClean="0"/>
              <a:t>Madeira </a:t>
            </a:r>
          </a:p>
          <a:p>
            <a:pPr lvl="2"/>
            <a:r>
              <a:rPr lang="pt-BR" dirty="0" smtClean="0"/>
              <a:t>Portalegre </a:t>
            </a:r>
          </a:p>
          <a:p>
            <a:pPr lvl="2"/>
            <a:r>
              <a:rPr lang="pt-BR" dirty="0" smtClean="0"/>
              <a:t>Porto </a:t>
            </a:r>
          </a:p>
          <a:p>
            <a:pPr lvl="2"/>
            <a:r>
              <a:rPr lang="pt-BR" dirty="0" smtClean="0"/>
              <a:t>Santarém </a:t>
            </a:r>
          </a:p>
          <a:p>
            <a:pPr lvl="2"/>
            <a:r>
              <a:rPr lang="pt-BR" dirty="0" smtClean="0"/>
              <a:t>Setúbal </a:t>
            </a:r>
          </a:p>
          <a:p>
            <a:pPr lvl="2"/>
            <a:r>
              <a:rPr lang="pt-BR" dirty="0" smtClean="0"/>
              <a:t>Viana do Castelo </a:t>
            </a:r>
          </a:p>
          <a:p>
            <a:pPr lvl="2"/>
            <a:r>
              <a:rPr lang="pt-BR" dirty="0" smtClean="0"/>
              <a:t>Vila Real </a:t>
            </a:r>
          </a:p>
          <a:p>
            <a:pPr lvl="2"/>
            <a:r>
              <a:rPr lang="pt-BR" dirty="0" smtClean="0"/>
              <a:t>Viseu </a:t>
            </a:r>
            <a:r>
              <a:rPr lang="nl-BE" dirty="0" smtClean="0"/>
              <a:t>	</a:t>
            </a:r>
          </a:p>
          <a:p>
            <a:pPr marL="288925" lvl="1" indent="0">
              <a:buNone/>
            </a:pPr>
            <a:r>
              <a:rPr lang="nl-BE" dirty="0"/>
              <a:t>	</a:t>
            </a:r>
            <a:r>
              <a:rPr lang="nl-BE" dirty="0" smtClean="0"/>
              <a:t>			 </a:t>
            </a:r>
            <a:endParaRPr lang="en-US" dirty="0"/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5883564" y="1317532"/>
            <a:ext cx="3057236" cy="484454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320093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Product – what it is</a:t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7338" lvl="1" indent="-287338">
              <a:spcBef>
                <a:spcPct val="0"/>
              </a:spcBef>
              <a:buClrTx/>
              <a:buBlip>
                <a:blip r:embed="rId3"/>
              </a:buBlip>
            </a:pPr>
            <a:r>
              <a:rPr lang="nl-BE" dirty="0" smtClean="0"/>
              <a:t>Geo targeting </a:t>
            </a:r>
            <a:r>
              <a:rPr lang="pt-PT" dirty="0" smtClean="0"/>
              <a:t>– “</a:t>
            </a:r>
            <a:r>
              <a:rPr lang="pt-PT" b="1" dirty="0" smtClean="0"/>
              <a:t>where</a:t>
            </a:r>
            <a:r>
              <a:rPr lang="pt-PT" dirty="0" smtClean="0"/>
              <a:t> </a:t>
            </a:r>
            <a:r>
              <a:rPr lang="pt-PT" dirty="0"/>
              <a:t>is display shown? </a:t>
            </a:r>
            <a:r>
              <a:rPr lang="pt-PT" dirty="0" smtClean="0"/>
              <a:t>“</a:t>
            </a:r>
            <a:endParaRPr lang="pt-PT" dirty="0"/>
          </a:p>
          <a:p>
            <a:pPr lvl="1"/>
            <a:r>
              <a:rPr lang="pt-PT" dirty="0" smtClean="0"/>
              <a:t>Scenarios:</a:t>
            </a:r>
            <a:endParaRPr lang="pt-PT" dirty="0"/>
          </a:p>
          <a:p>
            <a:endParaRPr lang="en-US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99752190"/>
              </p:ext>
            </p:extLst>
          </p:nvPr>
        </p:nvGraphicFramePr>
        <p:xfrm>
          <a:off x="1169968" y="2069811"/>
          <a:ext cx="6269037" cy="2389188"/>
        </p:xfrm>
        <a:graphic>
          <a:graphicData uri="http://schemas.openxmlformats.org/presentationml/2006/ole">
            <p:oleObj spid="_x0000_s92162" name="Worksheet" r:id="rId4" imgW="5786514" imgH="2388478" progId="Excel.Sheet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478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116633"/>
            <a:ext cx="9393238" cy="792163"/>
          </a:xfrm>
        </p:spPr>
        <p:txBody>
          <a:bodyPr/>
          <a:lstStyle/>
          <a:p>
            <a:r>
              <a:rPr lang="pt-PT" dirty="0"/>
              <a:t>Product – what it is</a:t>
            </a:r>
            <a:br>
              <a:rPr lang="pt-PT" dirty="0"/>
            </a:br>
            <a:r>
              <a:rPr lang="pt-PT" sz="2000" dirty="0"/>
              <a:t>(Product spec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005" y="1061606"/>
            <a:ext cx="9393238" cy="5132388"/>
          </a:xfrm>
        </p:spPr>
        <p:txBody>
          <a:bodyPr/>
          <a:lstStyle/>
          <a:p>
            <a:r>
              <a:rPr lang="nl-BE" dirty="0" smtClean="0"/>
              <a:t>Time based targeting</a:t>
            </a:r>
          </a:p>
          <a:p>
            <a:pPr marL="288925" lvl="1" indent="0">
              <a:buNone/>
            </a:pPr>
            <a:r>
              <a:rPr lang="nl-BE" dirty="0" smtClean="0"/>
              <a:t>	         </a:t>
            </a:r>
            <a:r>
              <a:rPr lang="nl-BE" dirty="0"/>
              <a:t>	</a:t>
            </a:r>
            <a:r>
              <a:rPr lang="nl-BE" dirty="0" smtClean="0"/>
              <a:t>			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28497" y="1901150"/>
            <a:ext cx="150393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 smtClean="0"/>
              <a:t>Campaign runs </a:t>
            </a:r>
          </a:p>
          <a:p>
            <a:r>
              <a:rPr lang="nl-BE" sz="1400" b="1" dirty="0" smtClean="0"/>
              <a:t>throughout the </a:t>
            </a:r>
          </a:p>
          <a:p>
            <a:r>
              <a:rPr lang="nl-BE" sz="1400" b="1" dirty="0" smtClean="0"/>
              <a:t>whole year</a:t>
            </a:r>
            <a:endParaRPr lang="nl-BE" sz="1400" dirty="0" smtClean="0"/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6513173" y="1608259"/>
            <a:ext cx="0" cy="4320480"/>
          </a:xfrm>
          <a:prstGeom prst="line">
            <a:avLst/>
          </a:prstGeom>
          <a:noFill/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>
            <a:reflection blurRad="6350" stA="52000" endA="300" endPos="35000" dir="5400000" sy="-100000" algn="bl" rotWithShape="0"/>
          </a:effectLst>
        </p:spPr>
      </p:cxnSp>
      <p:sp>
        <p:nvSpPr>
          <p:cNvPr id="12" name="TextBox 11"/>
          <p:cNvSpPr txBox="1"/>
          <p:nvPr/>
        </p:nvSpPr>
        <p:spPr>
          <a:xfrm>
            <a:off x="3543729" y="1901151"/>
            <a:ext cx="174871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 smtClean="0"/>
              <a:t>Campaign runs </a:t>
            </a:r>
          </a:p>
          <a:p>
            <a:r>
              <a:rPr lang="nl-BE" sz="1400" b="1" dirty="0" smtClean="0"/>
              <a:t>throughout 1 </a:t>
            </a:r>
          </a:p>
          <a:p>
            <a:r>
              <a:rPr lang="nl-BE" sz="1400" b="1" dirty="0" smtClean="0"/>
              <a:t>specific season, defined as a 3-month period</a:t>
            </a:r>
            <a:endParaRPr lang="nl-BE" sz="1400" dirty="0" smtClean="0"/>
          </a:p>
          <a:p>
            <a:endParaRPr lang="nl-BE" sz="1400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6659914" y="1901150"/>
            <a:ext cx="195277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 smtClean="0"/>
              <a:t>Campaign runs </a:t>
            </a:r>
          </a:p>
          <a:p>
            <a:r>
              <a:rPr lang="nl-BE" sz="1400" dirty="0" smtClean="0"/>
              <a:t>throughout </a:t>
            </a:r>
            <a:r>
              <a:rPr lang="nl-BE" sz="1400" b="1" dirty="0" smtClean="0"/>
              <a:t>1 specific </a:t>
            </a:r>
          </a:p>
          <a:p>
            <a:r>
              <a:rPr lang="nl-BE" sz="1400" b="1" dirty="0" smtClean="0"/>
              <a:t>month</a:t>
            </a:r>
            <a:endParaRPr lang="nl-BE" sz="1400" dirty="0" smtClean="0"/>
          </a:p>
        </p:txBody>
      </p:sp>
      <p:sp>
        <p:nvSpPr>
          <p:cNvPr id="15" name="Rounded Rectangle 14"/>
          <p:cNvSpPr/>
          <p:nvPr/>
        </p:nvSpPr>
        <p:spPr bwMode="auto">
          <a:xfrm>
            <a:off x="529545" y="1498396"/>
            <a:ext cx="963589" cy="360040"/>
          </a:xfrm>
          <a:prstGeom prst="roundRect">
            <a:avLst/>
          </a:prstGeom>
          <a:noFill/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tabLst/>
            </a:pPr>
            <a:r>
              <a:rPr lang="pt-PT" sz="1600" dirty="0" smtClean="0">
                <a:solidFill>
                  <a:srgbClr val="4D4D4D"/>
                </a:solidFill>
              </a:rPr>
              <a:t>Yearly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3686239" y="1484784"/>
            <a:ext cx="1355369" cy="360040"/>
          </a:xfrm>
          <a:prstGeom prst="roundRect">
            <a:avLst/>
          </a:prstGeom>
          <a:noFill/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tabLst/>
            </a:pPr>
            <a:r>
              <a:rPr kumimoji="0" lang="pt-PT" sz="1600" b="0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Season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6719301" y="1484784"/>
            <a:ext cx="1197615" cy="360040"/>
          </a:xfrm>
          <a:prstGeom prst="roundRect">
            <a:avLst/>
          </a:prstGeom>
          <a:noFill/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tabLst/>
            </a:pPr>
            <a:r>
              <a:rPr kumimoji="0" lang="pt-PT" sz="1600" b="0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Monthly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37242" y="2996952"/>
            <a:ext cx="2047728" cy="252028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reflection blurRad="6350" stA="50000" endA="275" endPos="40000" dist="101600" dir="5400000" sy="-100000" algn="bl" rotWithShape="0"/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80164" y="3656487"/>
            <a:ext cx="6102164" cy="461665"/>
          </a:xfrm>
          <a:prstGeom prst="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rtlCol="0">
            <a:spAutoFit/>
          </a:bodyPr>
          <a:lstStyle/>
          <a:p>
            <a:r>
              <a:rPr lang="nl-BE" dirty="0" smtClean="0"/>
              <a:t>Time targeting and time flexibility can be defined through a start date and end date for each campa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6832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65D356B-D053-403B-84FE-1C99296EA61C}" type="slidenum">
              <a:rPr lang="en-AU" smtClean="0"/>
              <a:pPr/>
              <a:t>2</a:t>
            </a:fld>
            <a:endParaRPr lang="en-AU" smtClean="0"/>
          </a:p>
        </p:txBody>
      </p:sp>
      <p:sp>
        <p:nvSpPr>
          <p:cNvPr id="5123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C929BD88-80C4-4188-81C6-D44F89CD7632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5124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5125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5" name="think-cell Slide" r:id="rId6" imgW="0" imgH="0" progId="">
              <p:embed/>
            </p:oleObj>
          </a:graphicData>
        </a:graphic>
      </p:graphicFrame>
      <p:sp>
        <p:nvSpPr>
          <p:cNvPr id="5126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AU" smtClean="0"/>
              <a:t>Agenda</a:t>
            </a:r>
          </a:p>
        </p:txBody>
      </p:sp>
      <p:graphicFrame>
        <p:nvGraphicFramePr>
          <p:cNvPr id="6347780" name="Group 4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36538" y="1125538"/>
          <a:ext cx="9350375" cy="1997408"/>
        </p:xfrm>
        <a:graphic>
          <a:graphicData uri="http://schemas.openxmlformats.org/drawingml/2006/table">
            <a:tbl>
              <a:tblPr/>
              <a:tblGrid>
                <a:gridCol w="9350375"/>
              </a:tblGrid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tion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ecutive Summary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ue Proposition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act Analysi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ncial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ning and Next Step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ck-Up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Traffic &amp; Business mode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3186544"/>
            <a:ext cx="9393238" cy="3044393"/>
          </a:xfrm>
        </p:spPr>
        <p:txBody>
          <a:bodyPr/>
          <a:lstStyle/>
          <a:p>
            <a:r>
              <a:rPr lang="pt-PT" dirty="0" smtClean="0"/>
              <a:t>Despite the consistent growth of about 60% a year from 2011 to 2013, the amount of impressions that is expected makes it difficult to enable a CPM based model, especially when trying to enabling granular targeting options like segment or heading – the resulting inventory would be extremely small and hard to manage</a:t>
            </a:r>
          </a:p>
          <a:p>
            <a:endParaRPr lang="pt-PT" dirty="0" smtClean="0"/>
          </a:p>
          <a:p>
            <a:r>
              <a:rPr lang="pt-PT" dirty="0" smtClean="0"/>
              <a:t>Main conclusion follows: pay per inclusion is the best model to monetize mobile - at this st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4FAC89-1A2B-4C44-AB92-619B772D9B1D}" type="slidenum">
              <a:rPr lang="en-AU" smtClean="0"/>
              <a:pPr>
                <a:defRPr/>
              </a:pPr>
              <a:t>20</a:t>
            </a:fld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B9A87793-9BBA-4561-B6C6-83CB0CA3232B}" type="datetime4">
              <a:rPr lang="en-US" smtClean="0"/>
              <a:pPr>
                <a:defRPr/>
              </a:pPr>
              <a:t>March 31, 2011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0100312 BC - Virtual Paper</a:t>
            </a:r>
            <a:endParaRPr lang="en-AU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72362" y="1025234"/>
          <a:ext cx="5021695" cy="1607156"/>
        </p:xfrm>
        <a:graphic>
          <a:graphicData uri="http://schemas.openxmlformats.org/drawingml/2006/table">
            <a:tbl>
              <a:tblPr firstRow="1" firstCol="1">
                <a:tableStyleId>{2A488322-F2BA-4B5B-9748-0D474271808F}</a:tableStyleId>
              </a:tblPr>
              <a:tblGrid>
                <a:gridCol w="1248781"/>
                <a:gridCol w="1275352"/>
                <a:gridCol w="1248781"/>
                <a:gridCol w="1248781"/>
              </a:tblGrid>
              <a:tr h="146226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/>
                        <a:t>2011 (F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/>
                        <a:t>2012 (P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/>
                        <a:t>2013 (P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</a:tr>
              <a:tr h="45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/>
                        <a:t>B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/>
                        <a:t>2.328.0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/>
                        <a:t>3.794.64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/>
                        <a:t>6.109.37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</a:tr>
              <a:tr h="45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/>
                        <a:t>I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/>
                        <a:t>1.920.0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/>
                        <a:t>3.129.6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/>
                        <a:t>4.819.58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</a:tr>
              <a:tr h="45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/>
                        <a:t>P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/>
                        <a:t>732.00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/>
                        <a:t>1.127.28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/>
                        <a:t>1.882.55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23276" y="2650841"/>
            <a:ext cx="287931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pt-PT" b="1" dirty="0" smtClean="0"/>
              <a:t>Mobile – volume of impressions year</a:t>
            </a:r>
          </a:p>
          <a:p>
            <a:pPr algn="l"/>
            <a:r>
              <a:rPr lang="pt-PT" sz="1100" dirty="0" smtClean="0"/>
              <a:t>Data: Webtrends</a:t>
            </a:r>
            <a:endParaRPr lang="en-US" sz="1100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wn Arrow 10"/>
          <p:cNvSpPr/>
          <p:nvPr/>
        </p:nvSpPr>
        <p:spPr bwMode="auto">
          <a:xfrm>
            <a:off x="4248734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5389386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icing – Yellow  </a:t>
            </a:r>
            <a:endParaRPr lang="en-US" dirty="0"/>
          </a:p>
        </p:txBody>
      </p:sp>
      <p:sp>
        <p:nvSpPr>
          <p:cNvPr id="30" name="Content Placeholder 29"/>
          <p:cNvSpPr>
            <a:spLocks noGrp="1"/>
          </p:cNvSpPr>
          <p:nvPr>
            <p:ph idx="1"/>
          </p:nvPr>
        </p:nvSpPr>
        <p:spPr>
          <a:xfrm>
            <a:off x="6474691" y="1098550"/>
            <a:ext cx="3169372" cy="1764723"/>
          </a:xfrm>
        </p:spPr>
        <p:txBody>
          <a:bodyPr/>
          <a:lstStyle/>
          <a:p>
            <a:r>
              <a:rPr lang="pt-PT" dirty="0" smtClean="0"/>
              <a:t>Discount is applied to favour stability and longer-term campaigns</a:t>
            </a:r>
            <a:endParaRPr lang="en-US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/>
          <a:srcRect l="-23792" r="65608" b="-12428"/>
          <a:stretch>
            <a:fillRect/>
          </a:stretch>
        </p:blipFill>
        <p:spPr bwMode="auto">
          <a:xfrm>
            <a:off x="8307373" y="188641"/>
            <a:ext cx="1073951" cy="631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236679" y="983285"/>
          <a:ext cx="5933210" cy="2240214"/>
        </p:xfrm>
        <a:graphic>
          <a:graphicData uri="http://schemas.openxmlformats.org/drawingml/2006/table">
            <a:tbl>
              <a:tblPr/>
              <a:tblGrid>
                <a:gridCol w="1190195"/>
                <a:gridCol w="1085416"/>
                <a:gridCol w="1223917"/>
                <a:gridCol w="1385600"/>
                <a:gridCol w="1048082"/>
              </a:tblGrid>
              <a:tr h="6480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Contextual target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Geo Targeting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Monthly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Seasonal </a:t>
                      </a:r>
                      <a:b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(3-month)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Yearly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0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10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.480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ead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one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6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0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ational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5,5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24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24" name="Elbow Connector 23"/>
          <p:cNvCxnSpPr>
            <a:stCxn id="13" idx="2"/>
            <a:endCxn id="12" idx="2"/>
          </p:cNvCxnSpPr>
          <p:nvPr/>
        </p:nvCxnSpPr>
        <p:spPr bwMode="auto">
          <a:xfrm rot="16200000" flipH="1">
            <a:off x="4405575" y="2070637"/>
            <a:ext cx="1588" cy="2452254"/>
          </a:xfrm>
          <a:prstGeom prst="bentConnector3">
            <a:avLst>
              <a:gd name="adj1" fmla="val 52201717"/>
            </a:avLst>
          </a:prstGeom>
          <a:solidFill>
            <a:schemeClr val="bg1"/>
          </a:solidFill>
          <a:ln w="381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8" name="TextBox 27"/>
          <p:cNvSpPr txBox="1"/>
          <p:nvPr/>
        </p:nvSpPr>
        <p:spPr>
          <a:xfrm>
            <a:off x="3315862" y="3445172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5% Discount</a:t>
            </a:r>
            <a:endParaRPr lang="en-US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3874646" y="3865416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10% Discount</a:t>
            </a:r>
            <a:endParaRPr lang="en-US" b="1" dirty="0"/>
          </a:p>
        </p:txBody>
      </p:sp>
      <p:cxnSp>
        <p:nvCxnSpPr>
          <p:cNvPr id="15" name="Elbow Connector 14"/>
          <p:cNvCxnSpPr>
            <a:stCxn id="13" idx="2"/>
            <a:endCxn id="11" idx="2"/>
          </p:cNvCxnSpPr>
          <p:nvPr/>
        </p:nvCxnSpPr>
        <p:spPr bwMode="auto">
          <a:xfrm rot="16200000" flipH="1">
            <a:off x="3835249" y="2640963"/>
            <a:ext cx="1588" cy="1311602"/>
          </a:xfrm>
          <a:prstGeom prst="bentConnector3">
            <a:avLst>
              <a:gd name="adj1" fmla="val 24283257"/>
            </a:avLst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3639135" y="4577926"/>
          <a:ext cx="5763494" cy="1066800"/>
        </p:xfrm>
        <a:graphic>
          <a:graphicData uri="http://schemas.openxmlformats.org/drawingml/2006/table">
            <a:tbl>
              <a:tblPr/>
              <a:tblGrid>
                <a:gridCol w="1228444"/>
                <a:gridCol w="1593473"/>
                <a:gridCol w="1735263"/>
                <a:gridCol w="1206314"/>
              </a:tblGrid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Results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hon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0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9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9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obil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5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0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5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5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9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4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Down Arrow 12"/>
          <p:cNvSpPr/>
          <p:nvPr/>
        </p:nvSpPr>
        <p:spPr bwMode="auto">
          <a:xfrm>
            <a:off x="2937132" y="2318356"/>
            <a:ext cx="484632" cy="978408"/>
          </a:xfrm>
          <a:prstGeom prst="downArrow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84451" y="5754270"/>
            <a:ext cx="1514763" cy="1015663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ome Page</a:t>
            </a:r>
          </a:p>
          <a:p>
            <a:r>
              <a:rPr lang="pt-PT" dirty="0" smtClean="0"/>
              <a:t>CPM between €7 (exclusivity) and €21 (3 placements taken)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479263" y="5758894"/>
            <a:ext cx="3292810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eading + National: </a:t>
            </a:r>
            <a:r>
              <a:rPr lang="pt-PT" dirty="0" smtClean="0"/>
              <a:t>CPM between €180 (exclusivity) and €550 (3 placements taken)</a:t>
            </a:r>
          </a:p>
          <a:p>
            <a:r>
              <a:rPr lang="pt-PT" b="1" dirty="0" smtClean="0"/>
              <a:t>Heading + Zone</a:t>
            </a:r>
            <a:r>
              <a:rPr lang="pt-PT" dirty="0" smtClean="0"/>
              <a:t>: CPM between €275 (exclusivity) and €825 (3 placements taken) </a:t>
            </a:r>
            <a:endParaRPr lang="en-US" dirty="0"/>
          </a:p>
        </p:txBody>
      </p:sp>
      <p:sp>
        <p:nvSpPr>
          <p:cNvPr id="38" name="Bent Arrow 37"/>
          <p:cNvSpPr/>
          <p:nvPr/>
        </p:nvSpPr>
        <p:spPr bwMode="auto">
          <a:xfrm rot="5400000">
            <a:off x="6991925" y="2198256"/>
            <a:ext cx="1930403" cy="2096654"/>
          </a:xfrm>
          <a:prstGeom prst="bentArrow">
            <a:avLst>
              <a:gd name="adj1" fmla="val 22837"/>
              <a:gd name="adj2" fmla="val 25000"/>
              <a:gd name="adj3" fmla="val 25000"/>
              <a:gd name="adj4" fmla="val 4375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604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icing - White </a:t>
            </a:r>
            <a:endParaRPr lang="en-US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/>
          <a:srcRect l="-23792" r="65608" b="-12428"/>
          <a:stretch>
            <a:fillRect/>
          </a:stretch>
        </p:blipFill>
        <p:spPr bwMode="auto">
          <a:xfrm>
            <a:off x="8307373" y="188641"/>
            <a:ext cx="1073951" cy="631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own Arrow 6"/>
          <p:cNvSpPr/>
          <p:nvPr/>
        </p:nvSpPr>
        <p:spPr bwMode="auto">
          <a:xfrm>
            <a:off x="4248734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Down Arrow 8"/>
          <p:cNvSpPr/>
          <p:nvPr/>
        </p:nvSpPr>
        <p:spPr bwMode="auto">
          <a:xfrm>
            <a:off x="5389386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Content Placeholder 29"/>
          <p:cNvSpPr>
            <a:spLocks noGrp="1"/>
          </p:cNvSpPr>
          <p:nvPr>
            <p:ph idx="1"/>
          </p:nvPr>
        </p:nvSpPr>
        <p:spPr>
          <a:xfrm>
            <a:off x="6474691" y="1098550"/>
            <a:ext cx="3169372" cy="1764723"/>
          </a:xfrm>
        </p:spPr>
        <p:txBody>
          <a:bodyPr/>
          <a:lstStyle/>
          <a:p>
            <a:r>
              <a:rPr lang="pt-PT" dirty="0" smtClean="0"/>
              <a:t>Discount is applied to favour stability and longer-term campaigns</a:t>
            </a:r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236679" y="983285"/>
          <a:ext cx="5933210" cy="2240214"/>
        </p:xfrm>
        <a:graphic>
          <a:graphicData uri="http://schemas.openxmlformats.org/drawingml/2006/table">
            <a:tbl>
              <a:tblPr/>
              <a:tblGrid>
                <a:gridCol w="1190195"/>
                <a:gridCol w="1085416"/>
                <a:gridCol w="1223917"/>
                <a:gridCol w="1385600"/>
                <a:gridCol w="1048082"/>
              </a:tblGrid>
              <a:tr h="6480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Contextual target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Geo Targeting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Monthly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Seasonal </a:t>
                      </a:r>
                      <a:b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(3-month)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Yearly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0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.14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.32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Results</a:t>
                      </a:r>
                      <a:r>
                        <a:rPr lang="en-US" sz="1600" b="1" i="0" u="none" strike="noStrike" baseline="0" dirty="0" smtClean="0">
                          <a:solidFill>
                            <a:srgbClr val="FFFFFF"/>
                          </a:solidFill>
                          <a:latin typeface="Calibri"/>
                        </a:rPr>
                        <a:t> Page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6824" marR="6824" marT="682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one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6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0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13" name="Elbow Connector 12"/>
          <p:cNvCxnSpPr>
            <a:stCxn id="18" idx="2"/>
            <a:endCxn id="9" idx="2"/>
          </p:cNvCxnSpPr>
          <p:nvPr/>
        </p:nvCxnSpPr>
        <p:spPr bwMode="auto">
          <a:xfrm rot="16200000" flipH="1">
            <a:off x="4405575" y="2070637"/>
            <a:ext cx="1588" cy="2452254"/>
          </a:xfrm>
          <a:prstGeom prst="bentConnector3">
            <a:avLst>
              <a:gd name="adj1" fmla="val 52201717"/>
            </a:avLst>
          </a:prstGeom>
          <a:solidFill>
            <a:schemeClr val="bg1"/>
          </a:solidFill>
          <a:ln w="381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3315862" y="3445172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5% Discount</a:t>
            </a:r>
            <a:endParaRPr lang="en-US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874646" y="3865416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10% Discount</a:t>
            </a:r>
            <a:endParaRPr lang="en-US" b="1" dirty="0"/>
          </a:p>
        </p:txBody>
      </p:sp>
      <p:cxnSp>
        <p:nvCxnSpPr>
          <p:cNvPr id="16" name="Elbow Connector 15"/>
          <p:cNvCxnSpPr>
            <a:stCxn id="18" idx="2"/>
            <a:endCxn id="7" idx="2"/>
          </p:cNvCxnSpPr>
          <p:nvPr/>
        </p:nvCxnSpPr>
        <p:spPr bwMode="auto">
          <a:xfrm rot="16200000" flipH="1">
            <a:off x="3835249" y="2640963"/>
            <a:ext cx="1588" cy="1311602"/>
          </a:xfrm>
          <a:prstGeom prst="bentConnector3">
            <a:avLst>
              <a:gd name="adj1" fmla="val 24283257"/>
            </a:avLst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3639135" y="4577926"/>
          <a:ext cx="5763494" cy="1066800"/>
        </p:xfrm>
        <a:graphic>
          <a:graphicData uri="http://schemas.openxmlformats.org/drawingml/2006/table">
            <a:tbl>
              <a:tblPr/>
              <a:tblGrid>
                <a:gridCol w="1228444"/>
                <a:gridCol w="1593473"/>
                <a:gridCol w="1735263"/>
                <a:gridCol w="1206314"/>
              </a:tblGrid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Results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hon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0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9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9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obil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5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0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5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5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9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4.0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8" name="Down Arrow 17"/>
          <p:cNvSpPr/>
          <p:nvPr/>
        </p:nvSpPr>
        <p:spPr bwMode="auto">
          <a:xfrm>
            <a:off x="2937132" y="2318356"/>
            <a:ext cx="484632" cy="978408"/>
          </a:xfrm>
          <a:prstGeom prst="downArrow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84451" y="5754270"/>
            <a:ext cx="1514763" cy="1015663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ome Page</a:t>
            </a:r>
          </a:p>
          <a:p>
            <a:r>
              <a:rPr lang="pt-PT" dirty="0" smtClean="0"/>
              <a:t>CPM between €7 (exclusivity) and €22 (3 placements taken)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479263" y="5758894"/>
            <a:ext cx="3292810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eading + Zone</a:t>
            </a:r>
            <a:r>
              <a:rPr lang="pt-PT" dirty="0" smtClean="0"/>
              <a:t>: CPM between €28 (exclusivity) and €75 (3 placements taken) </a:t>
            </a:r>
            <a:endParaRPr lang="en-US" dirty="0"/>
          </a:p>
        </p:txBody>
      </p:sp>
      <p:sp>
        <p:nvSpPr>
          <p:cNvPr id="21" name="Bent Arrow 20"/>
          <p:cNvSpPr/>
          <p:nvPr/>
        </p:nvSpPr>
        <p:spPr bwMode="auto">
          <a:xfrm rot="5400000">
            <a:off x="6991925" y="2198256"/>
            <a:ext cx="1930403" cy="2096654"/>
          </a:xfrm>
          <a:prstGeom prst="bentArrow">
            <a:avLst>
              <a:gd name="adj1" fmla="val 22837"/>
              <a:gd name="adj2" fmla="val 25000"/>
              <a:gd name="adj3" fmla="val 25000"/>
              <a:gd name="adj4" fmla="val 4375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6591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wn Arrow 10"/>
          <p:cNvSpPr/>
          <p:nvPr/>
        </p:nvSpPr>
        <p:spPr bwMode="auto">
          <a:xfrm>
            <a:off x="4248734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5389386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icing – Yellow  </a:t>
            </a:r>
            <a:endParaRPr lang="en-US" dirty="0"/>
          </a:p>
        </p:txBody>
      </p:sp>
      <p:sp>
        <p:nvSpPr>
          <p:cNvPr id="30" name="Content Placeholder 29"/>
          <p:cNvSpPr>
            <a:spLocks noGrp="1"/>
          </p:cNvSpPr>
          <p:nvPr>
            <p:ph idx="1"/>
          </p:nvPr>
        </p:nvSpPr>
        <p:spPr>
          <a:xfrm>
            <a:off x="6474691" y="1098550"/>
            <a:ext cx="3169372" cy="1764723"/>
          </a:xfrm>
        </p:spPr>
        <p:txBody>
          <a:bodyPr/>
          <a:lstStyle/>
          <a:p>
            <a:r>
              <a:rPr lang="pt-PT" dirty="0" smtClean="0"/>
              <a:t>Discount is applied to favour stability and longer-term campaign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236679" y="983285"/>
          <a:ext cx="5933210" cy="2240214"/>
        </p:xfrm>
        <a:graphic>
          <a:graphicData uri="http://schemas.openxmlformats.org/drawingml/2006/table">
            <a:tbl>
              <a:tblPr/>
              <a:tblGrid>
                <a:gridCol w="1190195"/>
                <a:gridCol w="1085416"/>
                <a:gridCol w="1223917"/>
                <a:gridCol w="1385600"/>
                <a:gridCol w="1048082"/>
              </a:tblGrid>
              <a:tr h="6480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Contextual target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Geo Targeting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Monthly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Seasonal </a:t>
                      </a:r>
                      <a:b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(3-month)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Yearly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0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.14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.32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ead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one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6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0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ational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5,5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24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24" name="Elbow Connector 23"/>
          <p:cNvCxnSpPr>
            <a:stCxn id="13" idx="2"/>
            <a:endCxn id="12" idx="2"/>
          </p:cNvCxnSpPr>
          <p:nvPr/>
        </p:nvCxnSpPr>
        <p:spPr bwMode="auto">
          <a:xfrm rot="16200000" flipH="1">
            <a:off x="4405575" y="2070637"/>
            <a:ext cx="1588" cy="2452254"/>
          </a:xfrm>
          <a:prstGeom prst="bentConnector3">
            <a:avLst>
              <a:gd name="adj1" fmla="val 52201717"/>
            </a:avLst>
          </a:prstGeom>
          <a:solidFill>
            <a:schemeClr val="bg1"/>
          </a:solidFill>
          <a:ln w="381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8" name="TextBox 27"/>
          <p:cNvSpPr txBox="1"/>
          <p:nvPr/>
        </p:nvSpPr>
        <p:spPr>
          <a:xfrm>
            <a:off x="3315862" y="3445172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5% Discount</a:t>
            </a:r>
            <a:endParaRPr lang="en-US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3874646" y="3865416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10% Discount</a:t>
            </a:r>
            <a:endParaRPr lang="en-US" b="1" dirty="0"/>
          </a:p>
        </p:txBody>
      </p:sp>
      <p:cxnSp>
        <p:nvCxnSpPr>
          <p:cNvPr id="15" name="Elbow Connector 14"/>
          <p:cNvCxnSpPr>
            <a:stCxn id="13" idx="2"/>
            <a:endCxn id="11" idx="2"/>
          </p:cNvCxnSpPr>
          <p:nvPr/>
        </p:nvCxnSpPr>
        <p:spPr bwMode="auto">
          <a:xfrm rot="16200000" flipH="1">
            <a:off x="3835249" y="2640963"/>
            <a:ext cx="1588" cy="1311602"/>
          </a:xfrm>
          <a:prstGeom prst="bentConnector3">
            <a:avLst>
              <a:gd name="adj1" fmla="val 24283257"/>
            </a:avLst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3639135" y="4577926"/>
          <a:ext cx="5763494" cy="1087272"/>
        </p:xfrm>
        <a:graphic>
          <a:graphicData uri="http://schemas.openxmlformats.org/drawingml/2006/table">
            <a:tbl>
              <a:tblPr/>
              <a:tblGrid>
                <a:gridCol w="1228444"/>
                <a:gridCol w="1593473"/>
                <a:gridCol w="1735263"/>
                <a:gridCol w="1206314"/>
              </a:tblGrid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Results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hon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obil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0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5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1.000</a:t>
                      </a:r>
                    </a:p>
                  </a:txBody>
                  <a:tcPr marL="6824" marR="6824" marT="6824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Down Arrow 12"/>
          <p:cNvSpPr/>
          <p:nvPr/>
        </p:nvSpPr>
        <p:spPr bwMode="auto">
          <a:xfrm>
            <a:off x="2937132" y="2318356"/>
            <a:ext cx="484632" cy="978408"/>
          </a:xfrm>
          <a:prstGeom prst="downArrow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84451" y="5754270"/>
            <a:ext cx="1514763" cy="1015663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ome Page</a:t>
            </a:r>
          </a:p>
          <a:p>
            <a:r>
              <a:rPr lang="pt-PT" dirty="0" smtClean="0"/>
              <a:t>CPM between €12 (exclusivity) and €36 (3 placements taken)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479263" y="5758894"/>
            <a:ext cx="3292810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eading + National: </a:t>
            </a:r>
            <a:r>
              <a:rPr lang="pt-PT" dirty="0" smtClean="0"/>
              <a:t>CPM between €850 (exclusivity) and €2500 (3 placements taken)</a:t>
            </a:r>
          </a:p>
          <a:p>
            <a:r>
              <a:rPr lang="pt-PT" b="1" dirty="0" smtClean="0"/>
              <a:t>Heading + Zone</a:t>
            </a:r>
            <a:r>
              <a:rPr lang="pt-PT" dirty="0" smtClean="0"/>
              <a:t>: CPM between €571 (exclusivity) and €1700 (3 placements taken) </a:t>
            </a:r>
            <a:endParaRPr lang="en-US" dirty="0"/>
          </a:p>
        </p:txBody>
      </p:sp>
      <p:sp>
        <p:nvSpPr>
          <p:cNvPr id="38" name="Bent Arrow 37"/>
          <p:cNvSpPr/>
          <p:nvPr/>
        </p:nvSpPr>
        <p:spPr bwMode="auto">
          <a:xfrm rot="5400000">
            <a:off x="6991925" y="2198256"/>
            <a:ext cx="1930403" cy="2096654"/>
          </a:xfrm>
          <a:prstGeom prst="bentArrow">
            <a:avLst>
              <a:gd name="adj1" fmla="val 22837"/>
              <a:gd name="adj2" fmla="val 25000"/>
              <a:gd name="adj3" fmla="val 25000"/>
              <a:gd name="adj4" fmla="val 4375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2" cstate="print"/>
          <a:srcRect l="35242" r="32404" b="-12428"/>
          <a:stretch>
            <a:fillRect/>
          </a:stretch>
        </p:blipFill>
        <p:spPr bwMode="auto">
          <a:xfrm>
            <a:off x="8846913" y="349996"/>
            <a:ext cx="630590" cy="66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83604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icing - White </a:t>
            </a:r>
            <a:endParaRPr lang="en-US" dirty="0"/>
          </a:p>
        </p:txBody>
      </p:sp>
      <p:sp>
        <p:nvSpPr>
          <p:cNvPr id="7" name="Down Arrow 6"/>
          <p:cNvSpPr/>
          <p:nvPr/>
        </p:nvSpPr>
        <p:spPr bwMode="auto">
          <a:xfrm>
            <a:off x="4248734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Down Arrow 8"/>
          <p:cNvSpPr/>
          <p:nvPr/>
        </p:nvSpPr>
        <p:spPr bwMode="auto">
          <a:xfrm>
            <a:off x="5389386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Content Placeholder 29"/>
          <p:cNvSpPr>
            <a:spLocks noGrp="1"/>
          </p:cNvSpPr>
          <p:nvPr>
            <p:ph idx="1"/>
          </p:nvPr>
        </p:nvSpPr>
        <p:spPr>
          <a:xfrm>
            <a:off x="6474691" y="1098550"/>
            <a:ext cx="3169372" cy="1764723"/>
          </a:xfrm>
        </p:spPr>
        <p:txBody>
          <a:bodyPr/>
          <a:lstStyle/>
          <a:p>
            <a:r>
              <a:rPr lang="pt-PT" dirty="0" smtClean="0"/>
              <a:t>Discount is applied to favour stability and longer-term campaigns</a:t>
            </a:r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236679" y="983285"/>
          <a:ext cx="5933210" cy="2240214"/>
        </p:xfrm>
        <a:graphic>
          <a:graphicData uri="http://schemas.openxmlformats.org/drawingml/2006/table">
            <a:tbl>
              <a:tblPr/>
              <a:tblGrid>
                <a:gridCol w="1190195"/>
                <a:gridCol w="1085416"/>
                <a:gridCol w="1223917"/>
                <a:gridCol w="1385600"/>
                <a:gridCol w="1048082"/>
              </a:tblGrid>
              <a:tr h="6480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Contextual target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Geo Targeting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Monthly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Seasonal </a:t>
                      </a:r>
                      <a:b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(3-month)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Yearly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85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.080,00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Results</a:t>
                      </a:r>
                      <a:r>
                        <a:rPr lang="en-US" sz="1600" b="1" i="0" u="none" strike="noStrike" baseline="0" dirty="0" smtClean="0">
                          <a:solidFill>
                            <a:srgbClr val="FFFFFF"/>
                          </a:solidFill>
                          <a:latin typeface="Calibri"/>
                        </a:rPr>
                        <a:t> Page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6824" marR="6824" marT="682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one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6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0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13" name="Elbow Connector 12"/>
          <p:cNvCxnSpPr>
            <a:stCxn id="18" idx="2"/>
            <a:endCxn id="9" idx="2"/>
          </p:cNvCxnSpPr>
          <p:nvPr/>
        </p:nvCxnSpPr>
        <p:spPr bwMode="auto">
          <a:xfrm rot="16200000" flipH="1">
            <a:off x="4405575" y="2070637"/>
            <a:ext cx="1588" cy="2452254"/>
          </a:xfrm>
          <a:prstGeom prst="bentConnector3">
            <a:avLst>
              <a:gd name="adj1" fmla="val 52201717"/>
            </a:avLst>
          </a:prstGeom>
          <a:solidFill>
            <a:schemeClr val="bg1"/>
          </a:solidFill>
          <a:ln w="381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3315862" y="3445172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5% Discount</a:t>
            </a:r>
            <a:endParaRPr lang="en-US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874646" y="3865416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10% Discount</a:t>
            </a:r>
            <a:endParaRPr lang="en-US" b="1" dirty="0"/>
          </a:p>
        </p:txBody>
      </p:sp>
      <p:cxnSp>
        <p:nvCxnSpPr>
          <p:cNvPr id="16" name="Elbow Connector 15"/>
          <p:cNvCxnSpPr>
            <a:stCxn id="18" idx="2"/>
            <a:endCxn id="7" idx="2"/>
          </p:cNvCxnSpPr>
          <p:nvPr/>
        </p:nvCxnSpPr>
        <p:spPr bwMode="auto">
          <a:xfrm rot="16200000" flipH="1">
            <a:off x="3835249" y="2640963"/>
            <a:ext cx="1588" cy="1311602"/>
          </a:xfrm>
          <a:prstGeom prst="bentConnector3">
            <a:avLst>
              <a:gd name="adj1" fmla="val 24283257"/>
            </a:avLst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3639135" y="4577926"/>
          <a:ext cx="5763494" cy="1066800"/>
        </p:xfrm>
        <a:graphic>
          <a:graphicData uri="http://schemas.openxmlformats.org/drawingml/2006/table">
            <a:tbl>
              <a:tblPr/>
              <a:tblGrid>
                <a:gridCol w="1228444"/>
                <a:gridCol w="1593473"/>
                <a:gridCol w="1735263"/>
                <a:gridCol w="1206314"/>
              </a:tblGrid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Results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Iphon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Whit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.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obile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Whit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.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.5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8" name="Down Arrow 17"/>
          <p:cNvSpPr/>
          <p:nvPr/>
        </p:nvSpPr>
        <p:spPr bwMode="auto">
          <a:xfrm>
            <a:off x="2937132" y="2318356"/>
            <a:ext cx="484632" cy="978408"/>
          </a:xfrm>
          <a:prstGeom prst="downArrow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84451" y="5754270"/>
            <a:ext cx="1514763" cy="1015663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ome Page</a:t>
            </a:r>
          </a:p>
          <a:p>
            <a:r>
              <a:rPr lang="pt-PT" dirty="0" smtClean="0"/>
              <a:t>CPM between €20 (exclusivity) and €60 (3 placements taken)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479263" y="5758894"/>
            <a:ext cx="3292810" cy="276999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eading + Zone</a:t>
            </a:r>
            <a:r>
              <a:rPr lang="pt-PT" dirty="0" smtClean="0"/>
              <a:t>: CPM extremely high</a:t>
            </a:r>
            <a:endParaRPr lang="en-US" dirty="0"/>
          </a:p>
        </p:txBody>
      </p:sp>
      <p:sp>
        <p:nvSpPr>
          <p:cNvPr id="21" name="Bent Arrow 20"/>
          <p:cNvSpPr/>
          <p:nvPr/>
        </p:nvSpPr>
        <p:spPr bwMode="auto">
          <a:xfrm rot="5400000">
            <a:off x="6991925" y="2198256"/>
            <a:ext cx="1930403" cy="2096654"/>
          </a:xfrm>
          <a:prstGeom prst="bentArrow">
            <a:avLst>
              <a:gd name="adj1" fmla="val 22837"/>
              <a:gd name="adj2" fmla="val 25000"/>
              <a:gd name="adj3" fmla="val 25000"/>
              <a:gd name="adj4" fmla="val 4375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2" name="Picture 21"/>
          <p:cNvPicPr>
            <a:picLocks noChangeAspect="1" noChangeArrowheads="1"/>
          </p:cNvPicPr>
          <p:nvPr/>
        </p:nvPicPr>
        <p:blipFill>
          <a:blip r:embed="rId2" cstate="print"/>
          <a:srcRect l="35242" r="32404" b="-12428"/>
          <a:stretch>
            <a:fillRect/>
          </a:stretch>
        </p:blipFill>
        <p:spPr bwMode="auto">
          <a:xfrm>
            <a:off x="8846913" y="349996"/>
            <a:ext cx="630590" cy="66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586591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wn Arrow 10"/>
          <p:cNvSpPr/>
          <p:nvPr/>
        </p:nvSpPr>
        <p:spPr bwMode="auto">
          <a:xfrm>
            <a:off x="4248734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Down Arrow 11"/>
          <p:cNvSpPr/>
          <p:nvPr/>
        </p:nvSpPr>
        <p:spPr bwMode="auto">
          <a:xfrm>
            <a:off x="5389386" y="2318356"/>
            <a:ext cx="484632" cy="978408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icing – Yellow  </a:t>
            </a:r>
            <a:endParaRPr lang="en-US" dirty="0"/>
          </a:p>
        </p:txBody>
      </p:sp>
      <p:sp>
        <p:nvSpPr>
          <p:cNvPr id="30" name="Content Placeholder 29"/>
          <p:cNvSpPr>
            <a:spLocks noGrp="1"/>
          </p:cNvSpPr>
          <p:nvPr>
            <p:ph idx="1"/>
          </p:nvPr>
        </p:nvSpPr>
        <p:spPr>
          <a:xfrm>
            <a:off x="6474691" y="1098550"/>
            <a:ext cx="3169372" cy="1764723"/>
          </a:xfrm>
        </p:spPr>
        <p:txBody>
          <a:bodyPr/>
          <a:lstStyle/>
          <a:p>
            <a:r>
              <a:rPr lang="pt-PT" dirty="0" smtClean="0"/>
              <a:t>Discount is applied to favour stability and longer-term campaign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236679" y="983285"/>
          <a:ext cx="5933210" cy="2240214"/>
        </p:xfrm>
        <a:graphic>
          <a:graphicData uri="http://schemas.openxmlformats.org/drawingml/2006/table">
            <a:tbl>
              <a:tblPr/>
              <a:tblGrid>
                <a:gridCol w="1190195"/>
                <a:gridCol w="1085416"/>
                <a:gridCol w="1223917"/>
                <a:gridCol w="1385600"/>
                <a:gridCol w="1048082"/>
              </a:tblGrid>
              <a:tr h="6480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Contextual target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Geo Targeting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Monthly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Seasonal </a:t>
                      </a:r>
                      <a:b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(3-month)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Yearly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5867"/>
                    </a:solidFill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0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10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.480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3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832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eading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one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6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08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ational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0,00 €</a:t>
                      </a:r>
                    </a:p>
                  </a:txBody>
                  <a:tcPr marL="6824" marR="6824" marT="682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5,5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24,00 €</a:t>
                      </a:r>
                    </a:p>
                  </a:txBody>
                  <a:tcPr marL="6824" marR="6824" marT="682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24" name="Elbow Connector 23"/>
          <p:cNvCxnSpPr>
            <a:stCxn id="13" idx="2"/>
            <a:endCxn id="12" idx="2"/>
          </p:cNvCxnSpPr>
          <p:nvPr/>
        </p:nvCxnSpPr>
        <p:spPr bwMode="auto">
          <a:xfrm rot="16200000" flipH="1">
            <a:off x="4405575" y="2070637"/>
            <a:ext cx="1588" cy="2452254"/>
          </a:xfrm>
          <a:prstGeom prst="bentConnector3">
            <a:avLst>
              <a:gd name="adj1" fmla="val 52201717"/>
            </a:avLst>
          </a:prstGeom>
          <a:solidFill>
            <a:schemeClr val="bg1"/>
          </a:solidFill>
          <a:ln w="381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8" name="TextBox 27"/>
          <p:cNvSpPr txBox="1"/>
          <p:nvPr/>
        </p:nvSpPr>
        <p:spPr>
          <a:xfrm>
            <a:off x="3315862" y="3445172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5% Discount</a:t>
            </a:r>
            <a:endParaRPr lang="en-US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3874646" y="3865416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/>
              <a:t>10% Discount</a:t>
            </a:r>
            <a:endParaRPr lang="en-US" b="1" dirty="0"/>
          </a:p>
        </p:txBody>
      </p:sp>
      <p:cxnSp>
        <p:nvCxnSpPr>
          <p:cNvPr id="15" name="Elbow Connector 14"/>
          <p:cNvCxnSpPr>
            <a:stCxn id="13" idx="2"/>
            <a:endCxn id="11" idx="2"/>
          </p:cNvCxnSpPr>
          <p:nvPr/>
        </p:nvCxnSpPr>
        <p:spPr bwMode="auto">
          <a:xfrm rot="16200000" flipH="1">
            <a:off x="3835249" y="2640963"/>
            <a:ext cx="1588" cy="1311602"/>
          </a:xfrm>
          <a:prstGeom prst="bentConnector3">
            <a:avLst>
              <a:gd name="adj1" fmla="val 24283257"/>
            </a:avLst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3639135" y="4577926"/>
          <a:ext cx="5763494" cy="1066800"/>
        </p:xfrm>
        <a:graphic>
          <a:graphicData uri="http://schemas.openxmlformats.org/drawingml/2006/table">
            <a:tbl>
              <a:tblPr/>
              <a:tblGrid>
                <a:gridCol w="1228444"/>
                <a:gridCol w="1593473"/>
                <a:gridCol w="1735263"/>
                <a:gridCol w="1206314"/>
              </a:tblGrid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Home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Results Page Impressions (month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hon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obile Yel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5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0.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Down Arrow 12"/>
          <p:cNvSpPr/>
          <p:nvPr/>
        </p:nvSpPr>
        <p:spPr bwMode="auto">
          <a:xfrm>
            <a:off x="2937132" y="2318356"/>
            <a:ext cx="484632" cy="978408"/>
          </a:xfrm>
          <a:prstGeom prst="downArrow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84451" y="5754270"/>
            <a:ext cx="1514763" cy="1015663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ome Page</a:t>
            </a:r>
          </a:p>
          <a:p>
            <a:r>
              <a:rPr lang="pt-PT" dirty="0" smtClean="0"/>
              <a:t>CPM between €7 (exclusivity) and €23 (3 placements taken)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479263" y="5758894"/>
            <a:ext cx="3292810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PT" b="1" dirty="0" smtClean="0"/>
              <a:t>Heading + National: </a:t>
            </a:r>
            <a:r>
              <a:rPr lang="pt-PT" dirty="0" smtClean="0"/>
              <a:t>CPM between €315 (exclusivity) and €950 (3 placements taken)</a:t>
            </a:r>
          </a:p>
          <a:p>
            <a:r>
              <a:rPr lang="pt-PT" b="1" dirty="0" smtClean="0"/>
              <a:t>Heading + Zone</a:t>
            </a:r>
            <a:r>
              <a:rPr lang="pt-PT" dirty="0" smtClean="0"/>
              <a:t>: CPM between €210 (exclusivity) and €630 (3 placements taken) </a:t>
            </a:r>
            <a:endParaRPr lang="en-US" dirty="0"/>
          </a:p>
        </p:txBody>
      </p:sp>
      <p:sp>
        <p:nvSpPr>
          <p:cNvPr id="38" name="Bent Arrow 37"/>
          <p:cNvSpPr/>
          <p:nvPr/>
        </p:nvSpPr>
        <p:spPr bwMode="auto">
          <a:xfrm rot="5400000">
            <a:off x="6991925" y="2198256"/>
            <a:ext cx="1930403" cy="2096654"/>
          </a:xfrm>
          <a:prstGeom prst="bentArrow">
            <a:avLst>
              <a:gd name="adj1" fmla="val 22837"/>
              <a:gd name="adj2" fmla="val 25000"/>
              <a:gd name="adj3" fmla="val 25000"/>
              <a:gd name="adj4" fmla="val 4375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54000" tIns="46791" rIns="54000" bIns="46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69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282" y="476672"/>
            <a:ext cx="630589" cy="612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83604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2A29E9B-274D-4550-9E18-27985AA5103D}" type="slidenum">
              <a:rPr lang="en-AU" smtClean="0"/>
              <a:pPr/>
              <a:t>26</a:t>
            </a:fld>
            <a:endParaRPr lang="en-AU" smtClean="0"/>
          </a:p>
        </p:txBody>
      </p:sp>
      <p:sp>
        <p:nvSpPr>
          <p:cNvPr id="16387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39290A1F-9328-4250-A7A0-2D00AC09C23F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16388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07 Draft BC - Virtual Paper</a:t>
            </a:r>
            <a:endParaRPr lang="en-AU"/>
          </a:p>
        </p:txBody>
      </p:sp>
      <p:sp>
        <p:nvSpPr>
          <p:cNvPr id="16389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dirty="0" err="1">
                <a:solidFill>
                  <a:schemeClr val="tx2"/>
                </a:solidFill>
              </a:rPr>
              <a:t>Monetization</a:t>
            </a:r>
            <a:r>
              <a:rPr lang="en-GB" sz="2400" dirty="0">
                <a:solidFill>
                  <a:schemeClr val="tx2"/>
                </a:solidFill>
              </a:rPr>
              <a:t> potential and market sizing</a:t>
            </a:r>
            <a:endParaRPr lang="en-AU" sz="2400" dirty="0">
              <a:solidFill>
                <a:schemeClr val="tx2"/>
              </a:solidFill>
            </a:endParaRPr>
          </a:p>
        </p:txBody>
      </p:sp>
      <p:pic>
        <p:nvPicPr>
          <p:cNvPr id="16390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6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1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6392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8125" y="1133475"/>
            <a:ext cx="4668838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 b="1">
                <a:cs typeface="Arial" charset="0"/>
              </a:rPr>
              <a:t>Monetization potential</a:t>
            </a:r>
          </a:p>
        </p:txBody>
      </p:sp>
      <p:sp>
        <p:nvSpPr>
          <p:cNvPr id="16393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8125" y="4246563"/>
            <a:ext cx="4668838" cy="2208212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6213" indent="-176213" algn="l" defTabSz="869950"/>
            <a:r>
              <a:rPr lang="en-GB" dirty="0" err="1">
                <a:cs typeface="Arial" charset="0"/>
              </a:rPr>
              <a:t>Monetization</a:t>
            </a:r>
            <a:r>
              <a:rPr lang="en-GB" dirty="0">
                <a:cs typeface="Arial" charset="0"/>
              </a:rPr>
              <a:t> options</a:t>
            </a:r>
          </a:p>
          <a:p>
            <a:pPr marL="176213" indent="-176213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Transition model to CPM, to enable better </a:t>
            </a:r>
            <a:r>
              <a:rPr lang="en-GB" dirty="0" err="1" smtClean="0">
                <a:cs typeface="Arial" charset="0"/>
              </a:rPr>
              <a:t>monetization</a:t>
            </a:r>
            <a:r>
              <a:rPr lang="en-GB" dirty="0" smtClean="0">
                <a:cs typeface="Arial" charset="0"/>
              </a:rPr>
              <a:t> of growing inventory</a:t>
            </a:r>
            <a:endParaRPr lang="en-GB" dirty="0">
              <a:cs typeface="Arial" charset="0"/>
            </a:endParaRPr>
          </a:p>
          <a:p>
            <a:pPr marL="176213" indent="-176213" algn="l" defTabSz="869950"/>
            <a:endParaRPr lang="en-GB" dirty="0">
              <a:cs typeface="Arial" charset="0"/>
            </a:endParaRPr>
          </a:p>
          <a:p>
            <a:pPr marL="176213" indent="-176213" algn="l" defTabSz="869950"/>
            <a:r>
              <a:rPr lang="en-GB" dirty="0">
                <a:cs typeface="Arial" charset="0"/>
              </a:rPr>
              <a:t>Suggested price structure and price levels</a:t>
            </a:r>
          </a:p>
          <a:p>
            <a:pPr marL="176213" indent="-176213" algn="l" defTabSz="869950">
              <a:buFontTx/>
              <a:buChar char="•"/>
            </a:pPr>
            <a:r>
              <a:rPr lang="en-GB" dirty="0">
                <a:cs typeface="Arial" charset="0"/>
              </a:rPr>
              <a:t>TBD</a:t>
            </a:r>
          </a:p>
        </p:txBody>
      </p:sp>
      <p:sp>
        <p:nvSpPr>
          <p:cNvPr id="16394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8125" y="3881438"/>
            <a:ext cx="4668838" cy="339725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Long term</a:t>
            </a:r>
          </a:p>
        </p:txBody>
      </p:sp>
      <p:sp>
        <p:nvSpPr>
          <p:cNvPr id="16395" name="AutoShape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49238" y="1844675"/>
            <a:ext cx="4668837" cy="1993900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dirty="0" err="1">
                <a:cs typeface="Arial" charset="0"/>
              </a:rPr>
              <a:t>Monetization</a:t>
            </a:r>
            <a:r>
              <a:rPr lang="en-GB" dirty="0">
                <a:cs typeface="Arial" charset="0"/>
              </a:rPr>
              <a:t> options</a:t>
            </a:r>
          </a:p>
          <a:p>
            <a:pPr marL="177800" indent="-177800" algn="l" defTabSz="869950">
              <a:buFontTx/>
              <a:buChar char="•"/>
            </a:pPr>
            <a:r>
              <a:rPr lang="en-GB" sz="1100" dirty="0" smtClean="0">
                <a:cs typeface="Arial" charset="0"/>
              </a:rPr>
              <a:t>Item will be sold as a stand alone item to explore increasing appeal behind mobile</a:t>
            </a:r>
          </a:p>
          <a:p>
            <a:pPr marL="177800" indent="-177800" algn="l" defTabSz="869950">
              <a:buFontTx/>
              <a:buChar char="•"/>
            </a:pPr>
            <a:r>
              <a:rPr lang="en-GB" sz="1100" dirty="0" smtClean="0">
                <a:cs typeface="Arial" charset="0"/>
              </a:rPr>
              <a:t>Model is pay per inclusion, since traffic, although going up significantly, is still low to enable a CPM based model</a:t>
            </a:r>
            <a:endParaRPr lang="en-GB" sz="1100" dirty="0">
              <a:cs typeface="Arial" charset="0"/>
            </a:endParaRPr>
          </a:p>
          <a:p>
            <a:pPr marL="177800" indent="-177800" algn="l" defTabSz="869950"/>
            <a:endParaRPr lang="en-GB" dirty="0" smtClean="0">
              <a:cs typeface="Arial" charset="0"/>
            </a:endParaRPr>
          </a:p>
          <a:p>
            <a:pPr marL="177800" indent="-177800" algn="l" defTabSz="869950"/>
            <a:r>
              <a:rPr lang="en-GB" dirty="0" smtClean="0">
                <a:cs typeface="Arial" charset="0"/>
              </a:rPr>
              <a:t>Price </a:t>
            </a:r>
            <a:r>
              <a:rPr lang="en-GB" dirty="0">
                <a:cs typeface="Arial" charset="0"/>
              </a:rPr>
              <a:t>level includes:</a:t>
            </a:r>
          </a:p>
          <a:p>
            <a:pPr marL="177800" indent="-177800" algn="l" defTabSz="869950">
              <a:buFont typeface="Arial" charset="0"/>
              <a:buChar char="•"/>
            </a:pPr>
            <a:r>
              <a:rPr lang="en-GB" sz="1100" dirty="0" smtClean="0">
                <a:cs typeface="Arial" charset="0"/>
              </a:rPr>
              <a:t>Perceived value behind mobile (Alignment with market CPM done when possible)</a:t>
            </a:r>
          </a:p>
          <a:p>
            <a:pPr marL="177800" indent="-177800" algn="l" defTabSz="869950">
              <a:buFont typeface="Arial" charset="0"/>
              <a:buChar char="•"/>
            </a:pPr>
            <a:r>
              <a:rPr lang="en-GB" sz="1100" dirty="0" smtClean="0">
                <a:cs typeface="Arial" charset="0"/>
              </a:rPr>
              <a:t>Reporting </a:t>
            </a:r>
          </a:p>
          <a:p>
            <a:pPr marL="177800" indent="-177800" algn="l" defTabSz="869950">
              <a:buFont typeface="Arial" charset="0"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>
              <a:buFont typeface="Arial" charset="0"/>
              <a:buChar char="•"/>
            </a:pPr>
            <a:endParaRPr lang="en-GB" dirty="0">
              <a:cs typeface="Arial" charset="0"/>
            </a:endParaRPr>
          </a:p>
        </p:txBody>
      </p:sp>
      <p:sp>
        <p:nvSpPr>
          <p:cNvPr id="16396" name="AutoShape 1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49238" y="1514475"/>
            <a:ext cx="4668837" cy="280988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Short term</a:t>
            </a:r>
          </a:p>
        </p:txBody>
      </p:sp>
      <p:sp>
        <p:nvSpPr>
          <p:cNvPr id="16397" name="AutoShap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997450" y="1123950"/>
            <a:ext cx="4638675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 b="1">
                <a:cs typeface="Arial" charset="0"/>
              </a:rPr>
              <a:t>Target segments and market sizing</a:t>
            </a:r>
          </a:p>
        </p:txBody>
      </p:sp>
      <p:sp>
        <p:nvSpPr>
          <p:cNvPr id="16398" name="AutoShape 1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008563" y="1828800"/>
            <a:ext cx="4627562" cy="2020888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dirty="0">
                <a:cs typeface="Arial" charset="0"/>
              </a:rPr>
              <a:t>Key segments</a:t>
            </a:r>
            <a:r>
              <a:rPr lang="en-GB" sz="1400" dirty="0">
                <a:cs typeface="Arial" charset="0"/>
              </a:rPr>
              <a:t>:</a:t>
            </a:r>
          </a:p>
          <a:p>
            <a:pPr marL="635000" lvl="1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Existing mobile customers in each unit are expected to convert easily to in-app advertising solution</a:t>
            </a:r>
          </a:p>
          <a:p>
            <a:pPr marL="635000" lvl="1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As mobile penetration grows (including through pure acquisition), so does the size of the addressable market</a:t>
            </a:r>
          </a:p>
          <a:p>
            <a:pPr marL="635000" lvl="1" indent="-177800" algn="l" defTabSz="869950"/>
            <a:endParaRPr lang="en-GB" dirty="0">
              <a:cs typeface="Arial" charset="0"/>
            </a:endParaRPr>
          </a:p>
        </p:txBody>
      </p:sp>
      <p:sp>
        <p:nvSpPr>
          <p:cNvPr id="16399" name="AutoShape 1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008563" y="1506538"/>
            <a:ext cx="4627562" cy="280987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Advertiser segments</a:t>
            </a:r>
          </a:p>
        </p:txBody>
      </p:sp>
      <p:sp>
        <p:nvSpPr>
          <p:cNvPr id="6203408" name="AutoShape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008563" y="4246563"/>
            <a:ext cx="4627562" cy="2200275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lIns="54000" tIns="46791" rIns="54000" bIns="46791"/>
          <a:lstStyle/>
          <a:p>
            <a:pPr marL="177800" indent="-177800" algn="l" defTabSz="869950">
              <a:defRPr/>
            </a:pPr>
            <a:r>
              <a:rPr lang="en-GB" dirty="0">
                <a:latin typeface="Arial" pitchFamily="34" charset="0"/>
              </a:rPr>
              <a:t>Key end-user segments</a:t>
            </a:r>
            <a:r>
              <a:rPr lang="en-GB" sz="1400" dirty="0">
                <a:latin typeface="Arial" pitchFamily="34" charset="0"/>
              </a:rPr>
              <a:t>:</a:t>
            </a:r>
          </a:p>
          <a:p>
            <a:pPr marL="546100" lvl="1" indent="-88900" algn="l" defTabSz="869950">
              <a:buFont typeface="Arial" pitchFamily="34" charset="0"/>
              <a:buChar char="•"/>
              <a:defRPr/>
            </a:pPr>
            <a:r>
              <a:rPr lang="en-GB" dirty="0"/>
              <a:t>All </a:t>
            </a:r>
            <a:r>
              <a:rPr lang="en-GB" dirty="0" smtClean="0"/>
              <a:t>mobile users </a:t>
            </a:r>
            <a:r>
              <a:rPr lang="en-GB" dirty="0"/>
              <a:t>performing local search including product/brands </a:t>
            </a:r>
            <a:r>
              <a:rPr lang="en-GB" dirty="0" smtClean="0"/>
              <a:t>– this means both:</a:t>
            </a:r>
            <a:endParaRPr lang="en-GB" dirty="0"/>
          </a:p>
          <a:p>
            <a:pPr marL="1003300" lvl="2" indent="-88900" algn="l" defTabSz="869950">
              <a:buFont typeface="Arial" pitchFamily="34" charset="0"/>
              <a:buChar char="•"/>
              <a:defRPr/>
            </a:pPr>
            <a:r>
              <a:rPr lang="en-GB" dirty="0" smtClean="0"/>
              <a:t>Direct mobile users</a:t>
            </a:r>
          </a:p>
          <a:p>
            <a:pPr marL="1003300" lvl="2" indent="-88900" algn="l" defTabSz="869950">
              <a:buFont typeface="Arial" pitchFamily="34" charset="0"/>
              <a:buChar char="•"/>
              <a:defRPr/>
            </a:pPr>
            <a:r>
              <a:rPr lang="en-GB" dirty="0" smtClean="0"/>
              <a:t>SEO traffic (users coming from search engines)</a:t>
            </a:r>
            <a:endParaRPr lang="en-GB" dirty="0"/>
          </a:p>
          <a:p>
            <a:pPr marL="88900" indent="-88900" algn="l" defTabSz="869950">
              <a:defRPr/>
            </a:pPr>
            <a:r>
              <a:rPr lang="en-GB" sz="1050" i="1" dirty="0" smtClean="0"/>
              <a:t>     </a:t>
            </a:r>
            <a:endParaRPr lang="en-GB" sz="1100" dirty="0"/>
          </a:p>
          <a:p>
            <a:pPr marL="177800" indent="-177800" algn="l" defTabSz="869950">
              <a:buFontTx/>
              <a:buChar char="•"/>
              <a:defRPr/>
            </a:pPr>
            <a:endParaRPr lang="en-GB" sz="1100" dirty="0">
              <a:latin typeface="Arial" pitchFamily="34" charset="0"/>
            </a:endParaRPr>
          </a:p>
        </p:txBody>
      </p:sp>
      <p:sp>
        <p:nvSpPr>
          <p:cNvPr id="16401" name="AutoShape 17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008563" y="3898900"/>
            <a:ext cx="4627562" cy="323850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End-user segment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A24DB9B-828A-45A5-8F9E-5F7A74D4A71B}" type="slidenum">
              <a:rPr lang="en-AU" smtClean="0"/>
              <a:pPr/>
              <a:t>27</a:t>
            </a:fld>
            <a:endParaRPr lang="en-AU" smtClean="0"/>
          </a:p>
        </p:txBody>
      </p:sp>
      <p:sp>
        <p:nvSpPr>
          <p:cNvPr id="18435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CEB2BA81-9648-4065-8A12-10BCE6517F79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18436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07 Draft BC - Virtual Paper</a:t>
            </a:r>
            <a:endParaRPr lang="en-AU"/>
          </a:p>
        </p:txBody>
      </p:sp>
      <p:sp>
        <p:nvSpPr>
          <p:cNvPr id="1843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dirty="0">
                <a:solidFill>
                  <a:schemeClr val="tx2"/>
                </a:solidFill>
              </a:rPr>
              <a:t/>
            </a:r>
            <a:br>
              <a:rPr lang="en-GB" sz="2400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Go-To-Market for </a:t>
            </a:r>
            <a:r>
              <a:rPr lang="en-GB" sz="2400" b="1" dirty="0">
                <a:solidFill>
                  <a:schemeClr val="tx2"/>
                </a:solidFill>
              </a:rPr>
              <a:t>End-Users</a:t>
            </a:r>
            <a:endParaRPr lang="en-AU" sz="2400" b="1" dirty="0">
              <a:solidFill>
                <a:schemeClr val="tx2"/>
              </a:solidFill>
            </a:endParaRPr>
          </a:p>
        </p:txBody>
      </p:sp>
      <p:pic>
        <p:nvPicPr>
          <p:cNvPr id="18438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9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8440" name="AutoShape 7"/>
          <p:cNvSpPr>
            <a:spLocks noChangeArrowheads="1"/>
          </p:cNvSpPr>
          <p:nvPr/>
        </p:nvSpPr>
        <p:spPr bwMode="gray">
          <a:xfrm>
            <a:off x="238125" y="1123950"/>
            <a:ext cx="3081338" cy="32385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Description of </a:t>
            </a:r>
            <a:r>
              <a:rPr lang="en-GB" sz="1400" b="1">
                <a:cs typeface="Arial" charset="0"/>
              </a:rPr>
              <a:t>end-user </a:t>
            </a:r>
            <a:r>
              <a:rPr lang="en-GB" sz="1400">
                <a:cs typeface="Arial" charset="0"/>
              </a:rPr>
              <a:t>offering</a:t>
            </a:r>
            <a:endParaRPr lang="en-GB" sz="1400" b="1">
              <a:cs typeface="Arial" charset="0"/>
            </a:endParaRPr>
          </a:p>
        </p:txBody>
      </p:sp>
      <p:sp>
        <p:nvSpPr>
          <p:cNvPr id="18441" name="AutoShape 13"/>
          <p:cNvSpPr>
            <a:spLocks noChangeArrowheads="1"/>
          </p:cNvSpPr>
          <p:nvPr/>
        </p:nvSpPr>
        <p:spPr bwMode="gray">
          <a:xfrm>
            <a:off x="3397250" y="1123950"/>
            <a:ext cx="3081338" cy="32385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Key aspects of launch strategy</a:t>
            </a:r>
            <a:endParaRPr lang="en-GB" sz="1400" b="1">
              <a:cs typeface="Arial" charset="0"/>
            </a:endParaRPr>
          </a:p>
        </p:txBody>
      </p:sp>
      <p:sp>
        <p:nvSpPr>
          <p:cNvPr id="18442" name="AutoShape 12"/>
          <p:cNvSpPr>
            <a:spLocks noChangeArrowheads="1"/>
          </p:cNvSpPr>
          <p:nvPr/>
        </p:nvSpPr>
        <p:spPr bwMode="gray">
          <a:xfrm>
            <a:off x="249238" y="1482725"/>
            <a:ext cx="3081337" cy="3124200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Serve banners in a contextual manner that is relevant for consumers looking for products and services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Banners will link to a destination addressing consumer needs (information or contact):</a:t>
            </a:r>
          </a:p>
          <a:p>
            <a:pPr marL="635000" lvl="1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My site</a:t>
            </a:r>
          </a:p>
          <a:p>
            <a:pPr marL="635000" lvl="1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Detail page</a:t>
            </a:r>
          </a:p>
          <a:p>
            <a:pPr marL="635000" lvl="1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Customer’s mobile site</a:t>
            </a:r>
          </a:p>
          <a:p>
            <a:pPr marL="635000" lvl="1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Click to call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</p:txBody>
      </p:sp>
      <p:sp>
        <p:nvSpPr>
          <p:cNvPr id="18443" name="AutoShape 14"/>
          <p:cNvSpPr>
            <a:spLocks noChangeArrowheads="1"/>
          </p:cNvSpPr>
          <p:nvPr/>
        </p:nvSpPr>
        <p:spPr bwMode="gray">
          <a:xfrm>
            <a:off x="3403600" y="1482725"/>
            <a:ext cx="3081338" cy="3124200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>
              <a:buFontTx/>
              <a:buChar char="•"/>
            </a:pPr>
            <a:r>
              <a:rPr lang="en-GB" dirty="0">
                <a:cs typeface="Arial" charset="0"/>
              </a:rPr>
              <a:t>Create awareness:</a:t>
            </a:r>
          </a:p>
          <a:p>
            <a:pPr marL="635000" lvl="1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Update apps with enhancement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</p:txBody>
      </p:sp>
      <p:sp>
        <p:nvSpPr>
          <p:cNvPr id="18444" name="AutoShape 15"/>
          <p:cNvSpPr>
            <a:spLocks noChangeArrowheads="1"/>
          </p:cNvSpPr>
          <p:nvPr/>
        </p:nvSpPr>
        <p:spPr bwMode="gray">
          <a:xfrm>
            <a:off x="249238" y="4649788"/>
            <a:ext cx="6235700" cy="32385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Key initiatives to build </a:t>
            </a:r>
            <a:r>
              <a:rPr lang="en-GB" sz="1400" b="1">
                <a:cs typeface="Arial" charset="0"/>
              </a:rPr>
              <a:t>end-user</a:t>
            </a:r>
            <a:r>
              <a:rPr lang="en-GB" sz="1400">
                <a:cs typeface="Arial" charset="0"/>
              </a:rPr>
              <a:t> loyalty</a:t>
            </a:r>
            <a:endParaRPr lang="en-GB" sz="1400" b="1">
              <a:cs typeface="Arial" charset="0"/>
            </a:endParaRPr>
          </a:p>
        </p:txBody>
      </p:sp>
      <p:sp>
        <p:nvSpPr>
          <p:cNvPr id="18445" name="AutoShape 16"/>
          <p:cNvSpPr>
            <a:spLocks noChangeArrowheads="1"/>
          </p:cNvSpPr>
          <p:nvPr/>
        </p:nvSpPr>
        <p:spPr bwMode="gray">
          <a:xfrm>
            <a:off x="255588" y="5006975"/>
            <a:ext cx="6235700" cy="1447800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Enhance search experience and relevancy of banners that are served</a:t>
            </a:r>
            <a:endParaRPr lang="en-GB" dirty="0">
              <a:cs typeface="Arial" charset="0"/>
            </a:endParaRPr>
          </a:p>
        </p:txBody>
      </p:sp>
      <p:sp>
        <p:nvSpPr>
          <p:cNvPr id="16" name="AutoShape 13"/>
          <p:cNvSpPr>
            <a:spLocks noChangeArrowheads="1"/>
          </p:cNvSpPr>
          <p:nvPr/>
        </p:nvSpPr>
        <p:spPr bwMode="gray">
          <a:xfrm>
            <a:off x="6942138" y="1119188"/>
            <a:ext cx="2805112" cy="3127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>
              <a:defRPr/>
            </a:pPr>
            <a:r>
              <a:rPr lang="en-GB" sz="1400" dirty="0">
                <a:solidFill>
                  <a:schemeClr val="bg1"/>
                </a:solidFill>
                <a:cs typeface="Arial" charset="0"/>
              </a:rPr>
              <a:t>KPI’s</a:t>
            </a:r>
            <a:endParaRPr lang="en-GB" sz="14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7" name="AutoShape 14"/>
          <p:cNvSpPr>
            <a:spLocks noChangeArrowheads="1"/>
          </p:cNvSpPr>
          <p:nvPr/>
        </p:nvSpPr>
        <p:spPr bwMode="gray">
          <a:xfrm>
            <a:off x="6954838" y="1477963"/>
            <a:ext cx="2798762" cy="4983162"/>
          </a:xfrm>
          <a:prstGeom prst="roundRect">
            <a:avLst>
              <a:gd name="adj" fmla="val 1639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>
              <a:buFontTx/>
              <a:buChar char="•"/>
              <a:defRPr/>
            </a:pPr>
            <a:r>
              <a:rPr lang="en-GB" dirty="0">
                <a:cs typeface="Arial" charset="0"/>
              </a:rPr>
              <a:t>Quantitative: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cs typeface="Arial" charset="0"/>
              </a:rPr>
              <a:t>Impressions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cs typeface="Arial" charset="0"/>
              </a:rPr>
              <a:t>Click through rate</a:t>
            </a:r>
            <a:endParaRPr lang="en-GB" dirty="0">
              <a:cs typeface="Arial" charset="0"/>
            </a:endParaRPr>
          </a:p>
          <a:p>
            <a:pPr marL="635000" lvl="1" indent="-177800" algn="l" defTabSz="869950">
              <a:buFontTx/>
              <a:buChar char="•"/>
              <a:defRPr/>
            </a:pPr>
            <a:endParaRPr lang="en-GB" dirty="0"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68609AD-E267-4CB8-ADD5-69CC93BB6FCC}" type="slidenum">
              <a:rPr lang="en-AU" smtClean="0"/>
              <a:pPr/>
              <a:t>28</a:t>
            </a:fld>
            <a:endParaRPr lang="en-AU" smtClean="0"/>
          </a:p>
        </p:txBody>
      </p:sp>
      <p:sp>
        <p:nvSpPr>
          <p:cNvPr id="19459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EAEBAE73-9685-4B6D-B229-19E41C54CCFB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19460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07 Draft BC - Virtual Paper</a:t>
            </a:r>
            <a:endParaRPr lang="en-AU"/>
          </a:p>
        </p:txBody>
      </p:sp>
      <p:sp>
        <p:nvSpPr>
          <p:cNvPr id="19461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dirty="0" smtClean="0">
                <a:solidFill>
                  <a:schemeClr val="tx2"/>
                </a:solidFill>
              </a:rPr>
              <a:t/>
            </a:r>
            <a:br>
              <a:rPr lang="en-GB" sz="2400" dirty="0" smtClean="0">
                <a:solidFill>
                  <a:schemeClr val="tx2"/>
                </a:solidFill>
              </a:rPr>
            </a:br>
            <a:r>
              <a:rPr lang="en-GB" sz="2400" dirty="0" smtClean="0">
                <a:solidFill>
                  <a:schemeClr val="tx2"/>
                </a:solidFill>
              </a:rPr>
              <a:t>Go-To-Market for </a:t>
            </a:r>
            <a:r>
              <a:rPr lang="en-GB" sz="2400" b="1" dirty="0" smtClean="0">
                <a:solidFill>
                  <a:schemeClr val="tx2"/>
                </a:solidFill>
              </a:rPr>
              <a:t>Advertisers</a:t>
            </a:r>
            <a:endParaRPr lang="en-AU" sz="2400" b="1" dirty="0">
              <a:solidFill>
                <a:schemeClr val="tx2"/>
              </a:solidFill>
            </a:endParaRPr>
          </a:p>
        </p:txBody>
      </p:sp>
      <p:pic>
        <p:nvPicPr>
          <p:cNvPr id="19462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3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464" name="AutoShape 7"/>
          <p:cNvSpPr>
            <a:spLocks noChangeArrowheads="1"/>
          </p:cNvSpPr>
          <p:nvPr/>
        </p:nvSpPr>
        <p:spPr bwMode="gray">
          <a:xfrm>
            <a:off x="238125" y="1123950"/>
            <a:ext cx="3081338" cy="32385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Description of </a:t>
            </a:r>
            <a:r>
              <a:rPr lang="en-GB" sz="1400" b="1">
                <a:cs typeface="Arial" charset="0"/>
              </a:rPr>
              <a:t>advertiser </a:t>
            </a:r>
            <a:r>
              <a:rPr lang="en-GB" sz="1400">
                <a:cs typeface="Arial" charset="0"/>
              </a:rPr>
              <a:t>offering</a:t>
            </a:r>
            <a:endParaRPr lang="en-GB" sz="1400" b="1">
              <a:cs typeface="Arial" charset="0"/>
            </a:endParaRPr>
          </a:p>
        </p:txBody>
      </p:sp>
      <p:sp>
        <p:nvSpPr>
          <p:cNvPr id="19465" name="AutoShape 10"/>
          <p:cNvSpPr>
            <a:spLocks noChangeArrowheads="1"/>
          </p:cNvSpPr>
          <p:nvPr/>
        </p:nvSpPr>
        <p:spPr bwMode="gray">
          <a:xfrm>
            <a:off x="3397250" y="1123950"/>
            <a:ext cx="3081338" cy="32385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Key aspects of sales strategy</a:t>
            </a:r>
            <a:endParaRPr lang="en-GB" sz="1400" b="1">
              <a:cs typeface="Arial" charset="0"/>
            </a:endParaRPr>
          </a:p>
        </p:txBody>
      </p:sp>
      <p:sp>
        <p:nvSpPr>
          <p:cNvPr id="19466" name="AutoShape 11"/>
          <p:cNvSpPr>
            <a:spLocks noChangeArrowheads="1"/>
          </p:cNvSpPr>
          <p:nvPr/>
        </p:nvSpPr>
        <p:spPr bwMode="gray">
          <a:xfrm>
            <a:off x="249238" y="1482725"/>
            <a:ext cx="3081337" cy="3375602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Banners displayed in the Home Page and results page of all </a:t>
            </a:r>
            <a:r>
              <a:rPr lang="en-GB" dirty="0" err="1" smtClean="0">
                <a:cs typeface="Arial" charset="0"/>
              </a:rPr>
              <a:t>Truvo</a:t>
            </a:r>
            <a:r>
              <a:rPr lang="en-GB" dirty="0" smtClean="0">
                <a:cs typeface="Arial" charset="0"/>
              </a:rPr>
              <a:t> mobile platforms (</a:t>
            </a:r>
            <a:r>
              <a:rPr lang="en-GB" dirty="0" err="1" smtClean="0">
                <a:cs typeface="Arial" charset="0"/>
              </a:rPr>
              <a:t>mdot</a:t>
            </a:r>
            <a:r>
              <a:rPr lang="en-GB" dirty="0" smtClean="0">
                <a:cs typeface="Arial" charset="0"/>
              </a:rPr>
              <a:t>, </a:t>
            </a:r>
            <a:r>
              <a:rPr lang="en-GB" dirty="0" err="1" smtClean="0">
                <a:cs typeface="Arial" charset="0"/>
              </a:rPr>
              <a:t>iphone</a:t>
            </a:r>
            <a:r>
              <a:rPr lang="en-GB" dirty="0" smtClean="0">
                <a:cs typeface="Arial" charset="0"/>
              </a:rPr>
              <a:t>, </a:t>
            </a:r>
            <a:r>
              <a:rPr lang="en-GB" dirty="0" err="1" smtClean="0">
                <a:cs typeface="Arial" charset="0"/>
              </a:rPr>
              <a:t>ipad</a:t>
            </a:r>
            <a:r>
              <a:rPr lang="en-GB" dirty="0" smtClean="0">
                <a:cs typeface="Arial" charset="0"/>
              </a:rPr>
              <a:t> and android)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Targeting options (contextual – Home Page or Heading – plus geography) will allow advertisers to address consumer segments with high granularity and conversion</a:t>
            </a: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Being pay per inclusion there will be 3 available slots for each targeting combination</a:t>
            </a: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Campaign periods are flexible (1 month, 3 month, 1 year) to enable time-specific campaigns 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sz="1000" dirty="0">
              <a:cs typeface="Arial" charset="0"/>
            </a:endParaRPr>
          </a:p>
        </p:txBody>
      </p:sp>
      <p:sp>
        <p:nvSpPr>
          <p:cNvPr id="6279180" name="AutoShape 12"/>
          <p:cNvSpPr>
            <a:spLocks noChangeArrowheads="1"/>
          </p:cNvSpPr>
          <p:nvPr/>
        </p:nvSpPr>
        <p:spPr bwMode="gray">
          <a:xfrm>
            <a:off x="3403600" y="1482725"/>
            <a:ext cx="3081338" cy="3375602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lIns="54000" tIns="46791" rIns="54000" bIns="46791"/>
          <a:lstStyle/>
          <a:p>
            <a:pPr marL="177800" indent="-177800" algn="l" defTabSz="869950">
              <a:buFont typeface="Arial" pitchFamily="34" charset="0"/>
              <a:buChar char="•"/>
              <a:defRPr/>
            </a:pPr>
            <a:r>
              <a:rPr lang="en-GB" dirty="0">
                <a:latin typeface="Arial" pitchFamily="34" charset="0"/>
              </a:rPr>
              <a:t>Product availability and specifications: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>
                <a:latin typeface="Arial" pitchFamily="34" charset="0"/>
              </a:rPr>
              <a:t>Product sold </a:t>
            </a:r>
            <a:r>
              <a:rPr lang="en-GB" dirty="0" smtClean="0">
                <a:latin typeface="Arial" pitchFamily="34" charset="0"/>
              </a:rPr>
              <a:t>as a stand alone item, based on a pay per inclusion model, as traffic grows</a:t>
            </a:r>
            <a:endParaRPr lang="en-GB" dirty="0">
              <a:latin typeface="Arial" pitchFamily="34" charset="0"/>
            </a:endParaRP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latin typeface="Arial" pitchFamily="34" charset="0"/>
              </a:rPr>
              <a:t>Targeting options: </a:t>
            </a:r>
            <a:r>
              <a:rPr lang="en-GB" dirty="0">
                <a:cs typeface="Arial" charset="0"/>
              </a:rPr>
              <a:t>contextual – Home Page or Heading – </a:t>
            </a:r>
            <a:r>
              <a:rPr lang="en-GB" dirty="0" smtClean="0">
                <a:cs typeface="Arial" charset="0"/>
              </a:rPr>
              <a:t>and geography – 3 slots available in each targeting option</a:t>
            </a:r>
            <a:endParaRPr lang="en-GB" dirty="0">
              <a:latin typeface="Arial" pitchFamily="34" charset="0"/>
            </a:endParaRPr>
          </a:p>
          <a:p>
            <a:pPr marL="177800" indent="-177800" algn="l" defTabSz="869950">
              <a:buFontTx/>
              <a:buChar char="•"/>
              <a:defRPr/>
            </a:pPr>
            <a:r>
              <a:rPr lang="en-GB" dirty="0" smtClean="0">
                <a:latin typeface="Arial" pitchFamily="34" charset="0"/>
              </a:rPr>
              <a:t>Sales </a:t>
            </a:r>
            <a:r>
              <a:rPr lang="en-GB" dirty="0">
                <a:latin typeface="Arial" pitchFamily="34" charset="0"/>
              </a:rPr>
              <a:t>effort: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latin typeface="Arial" pitchFamily="34" charset="0"/>
              </a:rPr>
              <a:t>Introduce product in sales automation tools to drive adoption and penetration</a:t>
            </a:r>
            <a:endParaRPr lang="en-GB" dirty="0">
              <a:latin typeface="Arial" pitchFamily="34" charset="0"/>
            </a:endParaRP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latin typeface="Arial" pitchFamily="34" charset="0"/>
              </a:rPr>
              <a:t>Develop clear targets and incentives</a:t>
            </a:r>
            <a:endParaRPr lang="en-GB" dirty="0">
              <a:latin typeface="Arial" pitchFamily="34" charset="0"/>
            </a:endParaRPr>
          </a:p>
          <a:p>
            <a:pPr marL="177800" indent="-177800" algn="l" defTabSz="869950">
              <a:buFontTx/>
              <a:buChar char="•"/>
              <a:defRPr/>
            </a:pPr>
            <a:r>
              <a:rPr lang="en-GB" dirty="0">
                <a:latin typeface="Arial" pitchFamily="34" charset="0"/>
              </a:rPr>
              <a:t>Sales Pitch: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latin typeface="Arial" pitchFamily="34" charset="0"/>
              </a:rPr>
              <a:t>Increase advertiser reach by advertising in a platform with increasing popularity and usage</a:t>
            </a:r>
            <a:endParaRPr lang="en-GB" dirty="0">
              <a:latin typeface="Arial" pitchFamily="34" charset="0"/>
            </a:endParaRPr>
          </a:p>
        </p:txBody>
      </p:sp>
      <p:sp>
        <p:nvSpPr>
          <p:cNvPr id="19468" name="AutoShape 13"/>
          <p:cNvSpPr>
            <a:spLocks noChangeArrowheads="1"/>
          </p:cNvSpPr>
          <p:nvPr/>
        </p:nvSpPr>
        <p:spPr bwMode="gray">
          <a:xfrm>
            <a:off x="249238" y="4926868"/>
            <a:ext cx="6235700" cy="32385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Key initiatives to increase </a:t>
            </a:r>
            <a:r>
              <a:rPr lang="en-GB" sz="1400" b="1">
                <a:cs typeface="Arial" charset="0"/>
              </a:rPr>
              <a:t>advertiser</a:t>
            </a:r>
            <a:r>
              <a:rPr lang="en-GB" sz="1400">
                <a:cs typeface="Arial" charset="0"/>
              </a:rPr>
              <a:t> spending</a:t>
            </a:r>
            <a:endParaRPr lang="en-GB" sz="1400" b="1">
              <a:cs typeface="Arial" charset="0"/>
            </a:endParaRPr>
          </a:p>
        </p:txBody>
      </p:sp>
      <p:sp>
        <p:nvSpPr>
          <p:cNvPr id="19469" name="AutoShape 14"/>
          <p:cNvSpPr>
            <a:spLocks noChangeArrowheads="1"/>
          </p:cNvSpPr>
          <p:nvPr/>
        </p:nvSpPr>
        <p:spPr bwMode="gray">
          <a:xfrm>
            <a:off x="255588" y="5284055"/>
            <a:ext cx="6235700" cy="1209098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Target existing mobile customers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Target existing display advertising customers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Train and focus sales force on importance and relevance of mobile offering</a:t>
            </a:r>
            <a:endParaRPr lang="en-GB" dirty="0">
              <a:cs typeface="Arial" charset="0"/>
            </a:endParaRPr>
          </a:p>
        </p:txBody>
      </p:sp>
      <p:sp>
        <p:nvSpPr>
          <p:cNvPr id="16" name="AutoShape 13"/>
          <p:cNvSpPr>
            <a:spLocks noChangeArrowheads="1"/>
          </p:cNvSpPr>
          <p:nvPr/>
        </p:nvSpPr>
        <p:spPr bwMode="gray">
          <a:xfrm>
            <a:off x="6942138" y="1119188"/>
            <a:ext cx="2805112" cy="3127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>
              <a:defRPr/>
            </a:pPr>
            <a:r>
              <a:rPr lang="en-GB" sz="1400" dirty="0">
                <a:solidFill>
                  <a:schemeClr val="bg1"/>
                </a:solidFill>
                <a:cs typeface="Arial" charset="0"/>
              </a:rPr>
              <a:t>KPI’s</a:t>
            </a:r>
            <a:endParaRPr lang="en-GB" sz="14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7" name="AutoShape 14"/>
          <p:cNvSpPr>
            <a:spLocks noChangeArrowheads="1"/>
          </p:cNvSpPr>
          <p:nvPr/>
        </p:nvSpPr>
        <p:spPr bwMode="gray">
          <a:xfrm>
            <a:off x="6954838" y="1477963"/>
            <a:ext cx="2798762" cy="4983162"/>
          </a:xfrm>
          <a:prstGeom prst="roundRect">
            <a:avLst>
              <a:gd name="adj" fmla="val 1639"/>
            </a:avLst>
          </a:prstGeom>
          <a:solidFill>
            <a:schemeClr val="bg1">
              <a:lumMod val="85000"/>
            </a:schemeClr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>
              <a:buFontTx/>
              <a:buChar char="•"/>
              <a:defRPr/>
            </a:pPr>
            <a:r>
              <a:rPr lang="en-GB" dirty="0">
                <a:cs typeface="Arial" charset="0"/>
              </a:rPr>
              <a:t>Quantitative: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cs typeface="Arial" charset="0"/>
              </a:rPr>
              <a:t>Penetration 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cs typeface="Arial" charset="0"/>
              </a:rPr>
              <a:t>Revenue</a:t>
            </a:r>
          </a:p>
          <a:p>
            <a:pPr marL="635000" lvl="1" indent="-177800" algn="l" defTabSz="869950">
              <a:buFontTx/>
              <a:buChar char="•"/>
              <a:defRPr/>
            </a:pPr>
            <a:r>
              <a:rPr lang="en-GB" dirty="0" smtClean="0">
                <a:cs typeface="Arial" charset="0"/>
              </a:rPr>
              <a:t>ARPA</a:t>
            </a:r>
            <a:endParaRPr lang="en-GB" dirty="0"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7B35C23-1C98-435B-8838-F428C5B64BDE}" type="slidenum">
              <a:rPr lang="en-AU" smtClean="0"/>
              <a:pPr/>
              <a:t>29</a:t>
            </a:fld>
            <a:endParaRPr lang="en-AU" smtClean="0"/>
          </a:p>
        </p:txBody>
      </p:sp>
      <p:sp>
        <p:nvSpPr>
          <p:cNvPr id="20483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69F33A8C-05B9-4E85-B93F-4BF919F3B260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0484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20485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485" name="think-cell Slide" r:id="rId6" imgW="0" imgH="0" progId="">
              <p:embed/>
            </p:oleObj>
          </a:graphicData>
        </a:graphic>
      </p:graphicFrame>
      <p:sp>
        <p:nvSpPr>
          <p:cNvPr id="20486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AU" smtClean="0"/>
              <a:t>Agenda</a:t>
            </a:r>
          </a:p>
        </p:txBody>
      </p:sp>
      <p:graphicFrame>
        <p:nvGraphicFramePr>
          <p:cNvPr id="6362116" name="Group 4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36538" y="1125538"/>
          <a:ext cx="9350375" cy="1997408"/>
        </p:xfrm>
        <a:graphic>
          <a:graphicData uri="http://schemas.openxmlformats.org/drawingml/2006/table">
            <a:tbl>
              <a:tblPr/>
              <a:tblGrid>
                <a:gridCol w="9350375"/>
              </a:tblGrid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tion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ecutive Summary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ue Proposition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act Analysi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ncial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ning and Next Step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ck-Up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FCBD5F5-0A12-494E-9E54-C25269B5EC7F}" type="slidenum">
              <a:rPr lang="en-AU" smtClean="0"/>
              <a:pPr/>
              <a:t>3</a:t>
            </a:fld>
            <a:endParaRPr lang="en-AU" smtClean="0"/>
          </a:p>
        </p:txBody>
      </p:sp>
      <p:sp>
        <p:nvSpPr>
          <p:cNvPr id="6147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D3C430A3-AE6A-4B96-9AC3-67F66C836E6B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6148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614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9" name="think-cell Slide" r:id="rId7" imgW="0" imgH="0" progId="">
              <p:embed/>
            </p:oleObj>
          </a:graphicData>
        </a:graphic>
      </p:graphicFrame>
      <p:sp>
        <p:nvSpPr>
          <p:cNvPr id="615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250825" y="88900"/>
            <a:ext cx="8180388" cy="792163"/>
          </a:xfrm>
        </p:spPr>
        <p:txBody>
          <a:bodyPr/>
          <a:lstStyle/>
          <a:p>
            <a:pPr eaLnBrk="1" hangingPunct="1"/>
            <a:r>
              <a:rPr lang="en-GB" b="1" dirty="0" smtClean="0"/>
              <a:t>In-App Advertising</a:t>
            </a:r>
            <a:br>
              <a:rPr lang="en-GB" b="1" dirty="0" smtClean="0"/>
            </a:br>
            <a:r>
              <a:rPr lang="en-GB" dirty="0" smtClean="0"/>
              <a:t>Executive summary</a:t>
            </a:r>
            <a:endParaRPr lang="en-AU" dirty="0" smtClean="0"/>
          </a:p>
        </p:txBody>
      </p:sp>
      <p:pic>
        <p:nvPicPr>
          <p:cNvPr id="6151" name="Picture 4" descr="toprightbubbl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/>
          <a:srcRect t="38242" r="18750"/>
          <a:stretch>
            <a:fillRect/>
          </a:stretch>
        </p:blipFill>
        <p:spPr bwMode="auto">
          <a:xfrm>
            <a:off x="8358188" y="-1588"/>
            <a:ext cx="1547812" cy="82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2" name="Text Box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21713" y="66675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400" b="1">
                <a:solidFill>
                  <a:schemeClr val="bg1"/>
                </a:solidFill>
              </a:rPr>
              <a:t>Executive Summary</a:t>
            </a:r>
          </a:p>
        </p:txBody>
      </p:sp>
      <p:sp>
        <p:nvSpPr>
          <p:cNvPr id="6153" name="Rectangle 6"/>
          <p:cNvSpPr>
            <a:spLocks noChangeArrowheads="1"/>
          </p:cNvSpPr>
          <p:nvPr/>
        </p:nvSpPr>
        <p:spPr bwMode="auto">
          <a:xfrm>
            <a:off x="249238" y="1123950"/>
            <a:ext cx="2139950" cy="1693863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2000" b="1">
                <a:solidFill>
                  <a:schemeClr val="bg1"/>
                </a:solidFill>
              </a:rPr>
              <a:t>Status</a:t>
            </a:r>
          </a:p>
        </p:txBody>
      </p:sp>
      <p:sp>
        <p:nvSpPr>
          <p:cNvPr id="6155" name="Rectangle 8"/>
          <p:cNvSpPr>
            <a:spLocks noChangeArrowheads="1"/>
          </p:cNvSpPr>
          <p:nvPr/>
        </p:nvSpPr>
        <p:spPr bwMode="auto">
          <a:xfrm>
            <a:off x="249238" y="2938246"/>
            <a:ext cx="2139950" cy="1693862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2000" b="1">
                <a:solidFill>
                  <a:schemeClr val="bg1"/>
                </a:solidFill>
              </a:rPr>
              <a:t>Next steps</a:t>
            </a:r>
          </a:p>
        </p:txBody>
      </p:sp>
      <p:sp>
        <p:nvSpPr>
          <p:cNvPr id="6156" name="Rectangle 9"/>
          <p:cNvSpPr>
            <a:spLocks noChangeArrowheads="1"/>
          </p:cNvSpPr>
          <p:nvPr/>
        </p:nvSpPr>
        <p:spPr bwMode="auto">
          <a:xfrm>
            <a:off x="2509838" y="1123950"/>
            <a:ext cx="7126287" cy="1693863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r>
              <a:rPr lang="en-GB" sz="1600" dirty="0" smtClean="0">
                <a:cs typeface="Arial" charset="0"/>
              </a:rPr>
              <a:t>Mobile platform and apps with good traffic growth, allowing for new </a:t>
            </a:r>
            <a:r>
              <a:rPr lang="en-GB" sz="1600" dirty="0" err="1" smtClean="0">
                <a:cs typeface="Arial" charset="0"/>
              </a:rPr>
              <a:t>monetization</a:t>
            </a:r>
            <a:r>
              <a:rPr lang="en-GB" sz="1600" dirty="0" smtClean="0">
                <a:cs typeface="Arial" charset="0"/>
              </a:rPr>
              <a:t> possibilities</a:t>
            </a:r>
          </a:p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r>
              <a:rPr lang="en-GB" sz="1600" dirty="0" smtClean="0">
                <a:cs typeface="Arial" charset="0"/>
              </a:rPr>
              <a:t>potential behind mobile presents opportunity for stand alone products to foster endogenous revenue growth – meaning </a:t>
            </a:r>
            <a:r>
              <a:rPr lang="en-GB" sz="1600" dirty="0" err="1" smtClean="0">
                <a:cs typeface="Arial" charset="0"/>
              </a:rPr>
              <a:t>debundled</a:t>
            </a:r>
            <a:r>
              <a:rPr lang="en-GB" sz="1600" dirty="0" smtClean="0">
                <a:cs typeface="Arial" charset="0"/>
              </a:rPr>
              <a:t> from other products</a:t>
            </a:r>
            <a:endParaRPr lang="en-GB" sz="1600" dirty="0">
              <a:cs typeface="Arial" charset="0"/>
            </a:endParaRPr>
          </a:p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endParaRPr lang="en-GB" sz="1600" dirty="0">
              <a:cs typeface="Arial" charset="0"/>
            </a:endParaRPr>
          </a:p>
        </p:txBody>
      </p:sp>
      <p:sp>
        <p:nvSpPr>
          <p:cNvPr id="6158" name="Rectangle 11"/>
          <p:cNvSpPr>
            <a:spLocks noChangeArrowheads="1"/>
          </p:cNvSpPr>
          <p:nvPr/>
        </p:nvSpPr>
        <p:spPr bwMode="auto">
          <a:xfrm>
            <a:off x="2509838" y="2938246"/>
            <a:ext cx="7126287" cy="1693862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r>
              <a:rPr lang="en-GB" sz="1400" dirty="0" smtClean="0">
                <a:cs typeface="Arial" charset="0"/>
              </a:rPr>
              <a:t>Complete development in </a:t>
            </a:r>
            <a:r>
              <a:rPr lang="en-GB" sz="1400" dirty="0" err="1" smtClean="0">
                <a:cs typeface="Arial" charset="0"/>
              </a:rPr>
              <a:t>mdot</a:t>
            </a:r>
            <a:r>
              <a:rPr lang="en-GB" sz="1400" dirty="0" smtClean="0">
                <a:cs typeface="Arial" charset="0"/>
              </a:rPr>
              <a:t> and mobile apps to enable display advertising</a:t>
            </a:r>
          </a:p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r>
              <a:rPr lang="en-GB" sz="1400" dirty="0" smtClean="0">
                <a:cs typeface="Arial" charset="0"/>
              </a:rPr>
              <a:t>Complete IT developments to enable keying, management and invoicing of product</a:t>
            </a:r>
          </a:p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r>
              <a:rPr lang="en-GB" sz="1400" dirty="0" smtClean="0">
                <a:cs typeface="Arial" charset="0"/>
              </a:rPr>
              <a:t>Customer care &amp; Ops training</a:t>
            </a:r>
          </a:p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r>
              <a:rPr lang="en-GB" sz="1400" dirty="0" smtClean="0">
                <a:cs typeface="Arial" charset="0"/>
              </a:rPr>
              <a:t>Sales training</a:t>
            </a:r>
            <a:endParaRPr lang="en-GB" sz="1600" dirty="0">
              <a:cs typeface="Arial" charset="0"/>
            </a:endParaRPr>
          </a:p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endParaRPr lang="en-GB" sz="1600" dirty="0">
              <a:cs typeface="Arial" charset="0"/>
            </a:endParaRPr>
          </a:p>
          <a:p>
            <a:pPr marL="174625" indent="-174625" algn="l" eaLnBrk="1" hangingPunct="1">
              <a:spcBef>
                <a:spcPct val="20000"/>
              </a:spcBef>
              <a:buFontTx/>
              <a:buChar char="•"/>
            </a:pPr>
            <a:endParaRPr lang="en-GB" sz="1600" b="1" dirty="0"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6957927-391D-4AA0-949C-757112E41AAD}" type="slidenum">
              <a:rPr lang="en-AU" smtClean="0"/>
              <a:pPr/>
              <a:t>30</a:t>
            </a:fld>
            <a:endParaRPr lang="en-AU" smtClean="0"/>
          </a:p>
        </p:txBody>
      </p:sp>
      <p:sp>
        <p:nvSpPr>
          <p:cNvPr id="21507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7463801F-58E6-4E37-9C24-85CDD9B1F651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1508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26 Introduction to IT-OPS Impact Analysis Process</a:t>
            </a:r>
            <a:endParaRPr lang="en-AU"/>
          </a:p>
        </p:txBody>
      </p:sp>
      <p:sp>
        <p:nvSpPr>
          <p:cNvPr id="21509" name="Slide Number Placeholder 4"/>
          <p:cNvSpPr txBox="1">
            <a:spLocks noGrp="1"/>
          </p:cNvSpPr>
          <p:nvPr/>
        </p:nvSpPr>
        <p:spPr bwMode="auto">
          <a:xfrm>
            <a:off x="196850" y="6477000"/>
            <a:ext cx="4683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eaLnBrk="1" hangingPunct="1"/>
            <a:fld id="{78666D32-7D61-4CD0-B41E-0F0456906055}" type="slidenum">
              <a:rPr lang="en-GB" b="1">
                <a:solidFill>
                  <a:schemeClr val="bg1"/>
                </a:solidFill>
                <a:cs typeface="Arial" charset="0"/>
              </a:rPr>
              <a:pPr eaLnBrk="1" hangingPunct="1"/>
              <a:t>30</a:t>
            </a:fld>
            <a:endParaRPr lang="en-GB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151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act Analysis - Product Definition</a:t>
            </a:r>
            <a:br>
              <a:rPr lang="en-US" dirty="0" smtClean="0"/>
            </a:br>
            <a:r>
              <a:rPr lang="en-US" b="1" dirty="0" smtClean="0"/>
              <a:t>In-App Advertising</a:t>
            </a:r>
            <a:endParaRPr lang="en-US" dirty="0" smtClean="0"/>
          </a:p>
        </p:txBody>
      </p:sp>
      <p:sp>
        <p:nvSpPr>
          <p:cNvPr id="21511" name="Rectangle 4"/>
          <p:cNvSpPr>
            <a:spLocks noChangeArrowheads="1"/>
          </p:cNvSpPr>
          <p:nvPr/>
        </p:nvSpPr>
        <p:spPr bwMode="auto">
          <a:xfrm>
            <a:off x="249238" y="1501775"/>
            <a:ext cx="1503362" cy="5619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Product Definition</a:t>
            </a:r>
          </a:p>
        </p:txBody>
      </p:sp>
      <p:sp>
        <p:nvSpPr>
          <p:cNvPr id="21512" name="Rectangle 5"/>
          <p:cNvSpPr>
            <a:spLocks noChangeArrowheads="1"/>
          </p:cNvSpPr>
          <p:nvPr/>
        </p:nvSpPr>
        <p:spPr bwMode="auto">
          <a:xfrm>
            <a:off x="8680450" y="1119188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Maintain</a:t>
            </a:r>
          </a:p>
        </p:txBody>
      </p:sp>
      <p:sp>
        <p:nvSpPr>
          <p:cNvPr id="21513" name="Rectangle 9"/>
          <p:cNvSpPr>
            <a:spLocks noChangeArrowheads="1"/>
          </p:cNvSpPr>
          <p:nvPr/>
        </p:nvSpPr>
        <p:spPr bwMode="auto">
          <a:xfrm>
            <a:off x="8680450" y="1500188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r>
              <a:rPr lang="en-GB"/>
              <a:t>..</a:t>
            </a:r>
          </a:p>
        </p:txBody>
      </p:sp>
      <p:sp>
        <p:nvSpPr>
          <p:cNvPr id="21514" name="Rectangle 7"/>
          <p:cNvSpPr>
            <a:spLocks noChangeArrowheads="1"/>
          </p:cNvSpPr>
          <p:nvPr/>
        </p:nvSpPr>
        <p:spPr bwMode="auto">
          <a:xfrm>
            <a:off x="1808163" y="1119188"/>
            <a:ext cx="5803900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1515" name="Rectangle 9"/>
          <p:cNvSpPr>
            <a:spLocks noChangeArrowheads="1"/>
          </p:cNvSpPr>
          <p:nvPr/>
        </p:nvSpPr>
        <p:spPr bwMode="auto">
          <a:xfrm>
            <a:off x="1808163" y="1500188"/>
            <a:ext cx="5803900" cy="5619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algn="l" eaLnBrk="1" hangingPunct="1">
              <a:spcBef>
                <a:spcPct val="20000"/>
              </a:spcBef>
            </a:pPr>
            <a:r>
              <a:rPr lang="en-GB" sz="1000" dirty="0" smtClean="0"/>
              <a:t>Display Advertising in </a:t>
            </a:r>
            <a:r>
              <a:rPr lang="en-GB" sz="1000" dirty="0" err="1" smtClean="0"/>
              <a:t>Truvo’s</a:t>
            </a:r>
            <a:r>
              <a:rPr lang="en-GB" sz="1000" dirty="0" smtClean="0"/>
              <a:t> mobile platforms</a:t>
            </a:r>
            <a:endParaRPr lang="en-GB" sz="1000" dirty="0"/>
          </a:p>
        </p:txBody>
      </p:sp>
      <p:sp>
        <p:nvSpPr>
          <p:cNvPr id="21516" name="Rectangle 9"/>
          <p:cNvSpPr>
            <a:spLocks noChangeArrowheads="1"/>
          </p:cNvSpPr>
          <p:nvPr/>
        </p:nvSpPr>
        <p:spPr bwMode="auto">
          <a:xfrm>
            <a:off x="7667625" y="1120775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Develop</a:t>
            </a:r>
          </a:p>
        </p:txBody>
      </p:sp>
      <p:sp>
        <p:nvSpPr>
          <p:cNvPr id="21517" name="Rectangle 9"/>
          <p:cNvSpPr>
            <a:spLocks noChangeArrowheads="1"/>
          </p:cNvSpPr>
          <p:nvPr/>
        </p:nvSpPr>
        <p:spPr bwMode="auto">
          <a:xfrm>
            <a:off x="7667625" y="1501775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1518" name="Rectangle 9"/>
          <p:cNvSpPr>
            <a:spLocks noChangeArrowheads="1"/>
          </p:cNvSpPr>
          <p:nvPr/>
        </p:nvSpPr>
        <p:spPr bwMode="auto">
          <a:xfrm>
            <a:off x="249238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u="sng" dirty="0"/>
              <a:t>Product features and functionality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Develop </a:t>
            </a:r>
            <a:r>
              <a:rPr lang="en-GB" sz="900" dirty="0" err="1" smtClean="0"/>
              <a:t>mdot</a:t>
            </a:r>
            <a:r>
              <a:rPr lang="en-GB" sz="900" dirty="0" smtClean="0"/>
              <a:t> and apps to serve banners according to business (targeting rules)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 smtClean="0"/>
              <a:t>Develop items in IT systems to enable keying, management , invoicing and reporting 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 smtClean="0"/>
              <a:t>Develop inventory management tool to control existing inventory (in the short term: fixed placements; in the medium term: impressions)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u="sng" dirty="0"/>
              <a:t>Pricing and discount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Fixed price depending on targeting op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 smtClean="0"/>
              <a:t>Campaign period is flexible, with increasing discounts as period of campaign increases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u="sng" dirty="0"/>
              <a:t>Bundl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/>
              <a:t> Stand alone </a:t>
            </a:r>
            <a:r>
              <a:rPr lang="en-GB" sz="900" dirty="0" smtClean="0"/>
              <a:t>item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u="sng" dirty="0"/>
              <a:t>Business Rule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Sold according to targeting options and constraints in terms of available fixed inventory per targeting option (max 3)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u="sng" dirty="0"/>
              <a:t>Relationship with existing product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 smtClean="0"/>
              <a:t>Integration with mobile platform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 smtClean="0"/>
              <a:t>No relationship with other commercial products, since banners will be sold as stand alone items.</a:t>
            </a:r>
            <a:endParaRPr lang="en-GB" sz="900" dirty="0"/>
          </a:p>
        </p:txBody>
      </p:sp>
      <p:sp>
        <p:nvSpPr>
          <p:cNvPr id="21519" name="Text Box 12"/>
          <p:cNvSpPr txBox="1">
            <a:spLocks noChangeArrowheads="1"/>
          </p:cNvSpPr>
          <p:nvPr/>
        </p:nvSpPr>
        <p:spPr bwMode="gray">
          <a:xfrm>
            <a:off x="249238" y="2116138"/>
            <a:ext cx="1528762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Business Requirement(s)</a:t>
            </a:r>
          </a:p>
        </p:txBody>
      </p:sp>
      <p:sp>
        <p:nvSpPr>
          <p:cNvPr id="21520" name="Text Box 13"/>
          <p:cNvSpPr txBox="1">
            <a:spLocks noChangeArrowheads="1"/>
          </p:cNvSpPr>
          <p:nvPr/>
        </p:nvSpPr>
        <p:spPr bwMode="gray">
          <a:xfrm>
            <a:off x="6530975" y="2116138"/>
            <a:ext cx="29337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Resources needed for development / maintenance</a:t>
            </a:r>
          </a:p>
        </p:txBody>
      </p:sp>
      <p:pic>
        <p:nvPicPr>
          <p:cNvPr id="21521" name="Picture 14" descr="toprightbubb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38242" r="18750"/>
          <a:stretch>
            <a:fillRect/>
          </a:stretch>
        </p:blipFill>
        <p:spPr bwMode="auto">
          <a:xfrm>
            <a:off x="8358188" y="-1588"/>
            <a:ext cx="1547812" cy="82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22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62963" y="22225"/>
            <a:ext cx="14255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400" b="1">
                <a:solidFill>
                  <a:schemeClr val="bg1"/>
                </a:solidFill>
              </a:rPr>
              <a:t>Impact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21523" name="Rectangle 9"/>
          <p:cNvSpPr>
            <a:spLocks noChangeArrowheads="1"/>
          </p:cNvSpPr>
          <p:nvPr/>
        </p:nvSpPr>
        <p:spPr bwMode="auto">
          <a:xfrm>
            <a:off x="3382963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Assump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>
                <a:solidFill>
                  <a:schemeClr val="tx2"/>
                </a:solidFill>
              </a:rPr>
              <a:t> </a:t>
            </a:r>
            <a:r>
              <a:rPr lang="en-GB" sz="900" dirty="0" smtClean="0">
                <a:solidFill>
                  <a:schemeClr val="tx2"/>
                </a:solidFill>
              </a:rPr>
              <a:t>Model is pay per inclusion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>
                <a:solidFill>
                  <a:schemeClr val="tx2"/>
                </a:solidFill>
              </a:rPr>
              <a:t>Inventory management tool is in place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>
                <a:solidFill>
                  <a:schemeClr val="tx2"/>
                </a:solidFill>
              </a:rPr>
              <a:t>Ad server is fully operational</a:t>
            </a:r>
            <a:endParaRPr lang="en-GB" sz="900" dirty="0">
              <a:solidFill>
                <a:schemeClr val="tx2"/>
              </a:solidFill>
            </a:endParaRP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Impact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AS400/ BIRDS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 </a:t>
            </a:r>
            <a:r>
              <a:rPr lang="en-GB" sz="900" dirty="0" err="1" smtClean="0"/>
              <a:t>mdot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 </a:t>
            </a:r>
            <a:r>
              <a:rPr lang="en-GB" sz="900" dirty="0" err="1" smtClean="0"/>
              <a:t>iphone</a:t>
            </a:r>
            <a:r>
              <a:rPr lang="en-GB" sz="900" dirty="0" smtClean="0"/>
              <a:t>, </a:t>
            </a:r>
            <a:r>
              <a:rPr lang="en-GB" sz="900" dirty="0" err="1" smtClean="0"/>
              <a:t>ipad</a:t>
            </a:r>
            <a:r>
              <a:rPr lang="en-GB" sz="900" dirty="0" smtClean="0"/>
              <a:t> and android apps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err="1" smtClean="0"/>
              <a:t>Truvo</a:t>
            </a:r>
            <a:r>
              <a:rPr lang="en-GB" sz="900" dirty="0" smtClean="0"/>
              <a:t> </a:t>
            </a:r>
            <a:r>
              <a:rPr lang="en-GB" sz="900" dirty="0"/>
              <a:t>Tech db for </a:t>
            </a:r>
            <a:r>
              <a:rPr lang="en-GB" sz="900" dirty="0" smtClean="0"/>
              <a:t>Reporting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 smtClean="0"/>
              <a:t>Risks </a:t>
            </a:r>
            <a:r>
              <a:rPr lang="en-GB" sz="900" u="sng" dirty="0"/>
              <a:t>and mitigation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 </a:t>
            </a:r>
            <a:r>
              <a:rPr lang="en-GB" sz="900" dirty="0" smtClean="0"/>
              <a:t>Plan with New Media</a:t>
            </a:r>
            <a:endParaRPr lang="en-GB" sz="900" u="sng" dirty="0"/>
          </a:p>
        </p:txBody>
      </p:sp>
      <p:sp>
        <p:nvSpPr>
          <p:cNvPr id="21524" name="Text Box 139"/>
          <p:cNvSpPr txBox="1">
            <a:spLocks noChangeArrowheads="1"/>
          </p:cNvSpPr>
          <p:nvPr/>
        </p:nvSpPr>
        <p:spPr bwMode="gray">
          <a:xfrm>
            <a:off x="3382963" y="2116138"/>
            <a:ext cx="2427287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/>
              <a:t>Assumptions, impact, risks and mitigation</a:t>
            </a:r>
          </a:p>
        </p:txBody>
      </p:sp>
      <p:graphicFrame>
        <p:nvGraphicFramePr>
          <p:cNvPr id="8338" name="Group 146"/>
          <p:cNvGraphicFramePr>
            <a:graphicFrameLocks noGrp="1"/>
          </p:cNvGraphicFramePr>
          <p:nvPr/>
        </p:nvGraphicFramePr>
        <p:xfrm>
          <a:off x="6529388" y="2360613"/>
          <a:ext cx="3098800" cy="4099333"/>
        </p:xfrm>
        <a:graphic>
          <a:graphicData uri="http://schemas.openxmlformats.org/drawingml/2006/table">
            <a:tbl>
              <a:tblPr/>
              <a:tblGrid>
                <a:gridCol w="895350"/>
                <a:gridCol w="550862"/>
                <a:gridCol w="550863"/>
                <a:gridCol w="550862"/>
                <a:gridCol w="550863"/>
              </a:tblGrid>
              <a:tr h="2206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REA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ign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uild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st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intain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AS 400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Birds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Mdot</a:t>
                      </a: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Iphone</a:t>
                      </a: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 app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Android app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Truvo</a:t>
                      </a: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 Tech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D5CC0C91-872F-4F95-938B-8EB0738BB0A2}" type="slidenum">
              <a:rPr lang="en-AU" smtClean="0"/>
              <a:pPr/>
              <a:t>31</a:t>
            </a:fld>
            <a:endParaRPr lang="en-AU" smtClean="0"/>
          </a:p>
        </p:txBody>
      </p:sp>
      <p:sp>
        <p:nvSpPr>
          <p:cNvPr id="22531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E5EDDDBF-BA39-4463-82C5-632EE12DE50E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2532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 dirty="0"/>
              <a:t>20100126 Introduction to IT-OPS Impact Analysis Process</a:t>
            </a:r>
            <a:endParaRPr lang="en-AU" dirty="0"/>
          </a:p>
        </p:txBody>
      </p:sp>
      <p:sp>
        <p:nvSpPr>
          <p:cNvPr id="22533" name="Slide Number Placeholder 4"/>
          <p:cNvSpPr txBox="1">
            <a:spLocks noGrp="1"/>
          </p:cNvSpPr>
          <p:nvPr/>
        </p:nvSpPr>
        <p:spPr bwMode="auto">
          <a:xfrm>
            <a:off x="196850" y="6477000"/>
            <a:ext cx="4683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eaLnBrk="1" hangingPunct="1"/>
            <a:fld id="{E2CE5175-BADF-42D3-9A2F-C8935BD4548A}" type="slidenum">
              <a:rPr lang="en-GB" b="1">
                <a:solidFill>
                  <a:schemeClr val="bg1"/>
                </a:solidFill>
                <a:cs typeface="Arial" charset="0"/>
              </a:rPr>
              <a:pPr eaLnBrk="1" hangingPunct="1"/>
              <a:t>31</a:t>
            </a:fld>
            <a:endParaRPr lang="en-GB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253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act Analysis - Sales</a:t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b="1" dirty="0" smtClean="0"/>
              <a:t>In-App Advertising</a:t>
            </a:r>
          </a:p>
        </p:txBody>
      </p:sp>
      <p:sp>
        <p:nvSpPr>
          <p:cNvPr id="22535" name="Rectangle 4"/>
          <p:cNvSpPr>
            <a:spLocks noChangeArrowheads="1"/>
          </p:cNvSpPr>
          <p:nvPr/>
        </p:nvSpPr>
        <p:spPr bwMode="auto">
          <a:xfrm>
            <a:off x="249238" y="1501775"/>
            <a:ext cx="1503362" cy="5619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ales</a:t>
            </a:r>
          </a:p>
        </p:txBody>
      </p:sp>
      <p:sp>
        <p:nvSpPr>
          <p:cNvPr id="22536" name="Rectangle 5"/>
          <p:cNvSpPr>
            <a:spLocks noChangeArrowheads="1"/>
          </p:cNvSpPr>
          <p:nvPr/>
        </p:nvSpPr>
        <p:spPr bwMode="auto">
          <a:xfrm>
            <a:off x="8680450" y="1119188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Maintain</a:t>
            </a:r>
          </a:p>
        </p:txBody>
      </p:sp>
      <p:sp>
        <p:nvSpPr>
          <p:cNvPr id="22537" name="Rectangle 9"/>
          <p:cNvSpPr>
            <a:spLocks noChangeArrowheads="1"/>
          </p:cNvSpPr>
          <p:nvPr/>
        </p:nvSpPr>
        <p:spPr bwMode="auto">
          <a:xfrm>
            <a:off x="8680450" y="1500188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r>
              <a:rPr lang="en-GB"/>
              <a:t>..</a:t>
            </a:r>
          </a:p>
        </p:txBody>
      </p:sp>
      <p:sp>
        <p:nvSpPr>
          <p:cNvPr id="22538" name="Rectangle 7"/>
          <p:cNvSpPr>
            <a:spLocks noChangeArrowheads="1"/>
          </p:cNvSpPr>
          <p:nvPr/>
        </p:nvSpPr>
        <p:spPr bwMode="auto">
          <a:xfrm>
            <a:off x="1808163" y="1119188"/>
            <a:ext cx="5803900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2539" name="Rectangle 9"/>
          <p:cNvSpPr>
            <a:spLocks noChangeArrowheads="1"/>
          </p:cNvSpPr>
          <p:nvPr/>
        </p:nvSpPr>
        <p:spPr bwMode="auto">
          <a:xfrm>
            <a:off x="1808163" y="1500188"/>
            <a:ext cx="5803900" cy="5619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algn="l" eaLnBrk="1" hangingPunct="1">
              <a:spcBef>
                <a:spcPct val="20000"/>
              </a:spcBef>
            </a:pPr>
            <a:r>
              <a:rPr lang="en-GB" sz="1000" dirty="0" smtClean="0"/>
              <a:t>In-App advertising is a new product in mobile. Training on product and sales pitch is required</a:t>
            </a:r>
            <a:endParaRPr lang="en-GB" sz="1000" dirty="0"/>
          </a:p>
        </p:txBody>
      </p:sp>
      <p:sp>
        <p:nvSpPr>
          <p:cNvPr id="22540" name="Rectangle 9"/>
          <p:cNvSpPr>
            <a:spLocks noChangeArrowheads="1"/>
          </p:cNvSpPr>
          <p:nvPr/>
        </p:nvSpPr>
        <p:spPr bwMode="auto">
          <a:xfrm>
            <a:off x="7667625" y="1120775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Develop</a:t>
            </a:r>
          </a:p>
        </p:txBody>
      </p:sp>
      <p:sp>
        <p:nvSpPr>
          <p:cNvPr id="22541" name="Rectangle 9"/>
          <p:cNvSpPr>
            <a:spLocks noChangeArrowheads="1"/>
          </p:cNvSpPr>
          <p:nvPr/>
        </p:nvSpPr>
        <p:spPr bwMode="auto">
          <a:xfrm>
            <a:off x="7667625" y="1501775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2542" name="Rectangle 9"/>
          <p:cNvSpPr>
            <a:spLocks noChangeArrowheads="1"/>
          </p:cNvSpPr>
          <p:nvPr/>
        </p:nvSpPr>
        <p:spPr bwMode="auto">
          <a:xfrm>
            <a:off x="249238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179388" indent="-179388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Training materials</a:t>
            </a:r>
          </a:p>
          <a:p>
            <a:pPr marL="447675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Sales Collateral </a:t>
            </a:r>
          </a:p>
          <a:p>
            <a:pPr marL="447675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training program</a:t>
            </a:r>
            <a:endParaRPr lang="en-GB" sz="900" dirty="0"/>
          </a:p>
          <a:p>
            <a:pPr marL="179388" indent="-179388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Training</a:t>
            </a:r>
          </a:p>
          <a:p>
            <a:pPr marL="447675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Training of sales staff on virtual paper as part of sales cycle launch 2011 training</a:t>
            </a:r>
            <a:endParaRPr lang="en-GB" sz="900" u="sng" dirty="0"/>
          </a:p>
          <a:p>
            <a:pPr marL="179388" indent="-179388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Sales materials</a:t>
            </a:r>
          </a:p>
          <a:p>
            <a:pPr marL="447675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Sales </a:t>
            </a:r>
            <a:r>
              <a:rPr lang="en-GB" sz="900" dirty="0" smtClean="0"/>
              <a:t>Collateral</a:t>
            </a:r>
          </a:p>
          <a:p>
            <a:pPr marL="447675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Sales automation tools adjusted to enable product</a:t>
            </a:r>
            <a:endParaRPr lang="en-GB" sz="900" dirty="0"/>
          </a:p>
          <a:p>
            <a:pPr marL="179388" indent="-179388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 smtClean="0"/>
              <a:t>Price </a:t>
            </a:r>
            <a:r>
              <a:rPr lang="en-GB" sz="900" u="sng" dirty="0"/>
              <a:t>sett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Fixed price depending on targeting op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179388" algn="l"/>
              </a:tabLst>
            </a:pPr>
            <a:r>
              <a:rPr lang="en-GB" sz="900" dirty="0" smtClean="0"/>
              <a:t>Campaign period is flexible, with increasing discounts as period of campaign increases</a:t>
            </a:r>
            <a:endParaRPr lang="en-GB" sz="900" dirty="0"/>
          </a:p>
        </p:txBody>
      </p:sp>
      <p:sp>
        <p:nvSpPr>
          <p:cNvPr id="22543" name="Text Box 12"/>
          <p:cNvSpPr txBox="1">
            <a:spLocks noChangeArrowheads="1"/>
          </p:cNvSpPr>
          <p:nvPr/>
        </p:nvSpPr>
        <p:spPr bwMode="gray">
          <a:xfrm>
            <a:off x="249238" y="2116138"/>
            <a:ext cx="1528762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Business Requirement(s)</a:t>
            </a:r>
          </a:p>
        </p:txBody>
      </p:sp>
      <p:sp>
        <p:nvSpPr>
          <p:cNvPr id="22544" name="Text Box 13"/>
          <p:cNvSpPr txBox="1">
            <a:spLocks noChangeArrowheads="1"/>
          </p:cNvSpPr>
          <p:nvPr/>
        </p:nvSpPr>
        <p:spPr bwMode="gray">
          <a:xfrm>
            <a:off x="6530975" y="2116138"/>
            <a:ext cx="29337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Resources needed for development / maintenance</a:t>
            </a:r>
          </a:p>
        </p:txBody>
      </p:sp>
      <p:pic>
        <p:nvPicPr>
          <p:cNvPr id="22545" name="Picture 14" descr="toprightbubb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38242" r="18750"/>
          <a:stretch>
            <a:fillRect/>
          </a:stretch>
        </p:blipFill>
        <p:spPr bwMode="auto">
          <a:xfrm>
            <a:off x="8358188" y="-1588"/>
            <a:ext cx="1547812" cy="82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46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62963" y="22225"/>
            <a:ext cx="14255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400" b="1">
                <a:solidFill>
                  <a:schemeClr val="bg1"/>
                </a:solidFill>
              </a:rPr>
              <a:t>Impact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22547" name="Text Box 139"/>
          <p:cNvSpPr txBox="1">
            <a:spLocks noChangeArrowheads="1"/>
          </p:cNvSpPr>
          <p:nvPr/>
        </p:nvSpPr>
        <p:spPr bwMode="gray">
          <a:xfrm>
            <a:off x="3382963" y="2116138"/>
            <a:ext cx="2427287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/>
              <a:t>Assumptions, impact, risks and mitigation</a:t>
            </a:r>
          </a:p>
        </p:txBody>
      </p:sp>
      <p:graphicFrame>
        <p:nvGraphicFramePr>
          <p:cNvPr id="9362" name="Group 146"/>
          <p:cNvGraphicFramePr>
            <a:graphicFrameLocks noGrp="1"/>
          </p:cNvGraphicFramePr>
          <p:nvPr/>
        </p:nvGraphicFramePr>
        <p:xfrm>
          <a:off x="6529388" y="2360613"/>
          <a:ext cx="3098800" cy="4221253"/>
        </p:xfrm>
        <a:graphic>
          <a:graphicData uri="http://schemas.openxmlformats.org/drawingml/2006/table">
            <a:tbl>
              <a:tblPr/>
              <a:tblGrid>
                <a:gridCol w="895350"/>
                <a:gridCol w="550862"/>
                <a:gridCol w="550863"/>
                <a:gridCol w="550862"/>
                <a:gridCol w="550863"/>
              </a:tblGrid>
              <a:tr h="2206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REA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ign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uild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st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intain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Sales automation tools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2670" name="Rectangle 9"/>
          <p:cNvSpPr>
            <a:spLocks noChangeArrowheads="1"/>
          </p:cNvSpPr>
          <p:nvPr/>
        </p:nvSpPr>
        <p:spPr bwMode="auto">
          <a:xfrm>
            <a:off x="3359150" y="2347913"/>
            <a:ext cx="3103563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Assumptions</a:t>
            </a:r>
          </a:p>
          <a:p>
            <a:pPr marL="358775" lvl="1" indent="-90488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/>
              <a:t>In-App advertising to be launched as part of the September canvass</a:t>
            </a:r>
            <a:endParaRPr lang="en-GB" sz="900" dirty="0"/>
          </a:p>
          <a:p>
            <a:pPr marL="358775" lvl="1" indent="-90488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/>
              <a:t>Adjustment of sales automation tools to enable product offering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Impact</a:t>
            </a:r>
          </a:p>
          <a:p>
            <a:pPr marL="358775" lvl="1" indent="-90488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Development of specific training materials on </a:t>
            </a:r>
            <a:r>
              <a:rPr lang="en-GB" sz="900" dirty="0" smtClean="0"/>
              <a:t>in-app advertising and </a:t>
            </a:r>
            <a:r>
              <a:rPr lang="en-GB" sz="900" dirty="0"/>
              <a:t>training of sales personnel to be aligned with Sales and included in national training calendars </a:t>
            </a: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endParaRPr lang="en-GB" sz="900" u="sng" dirty="0" smtClean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 smtClean="0"/>
              <a:t>Risk </a:t>
            </a:r>
            <a:r>
              <a:rPr lang="en-GB" sz="900" u="sng" dirty="0"/>
              <a:t>and mitigation</a:t>
            </a:r>
          </a:p>
          <a:p>
            <a:pPr marL="358775" lvl="1" indent="-90488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>
                <a:solidFill>
                  <a:schemeClr val="tx2"/>
                </a:solidFill>
              </a:rPr>
              <a:t>Plan with Sales</a:t>
            </a:r>
            <a:endParaRPr lang="en-GB" sz="9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0A36D61-3908-4664-91C5-DC6F717D5495}" type="slidenum">
              <a:rPr lang="en-AU" smtClean="0"/>
              <a:pPr/>
              <a:t>32</a:t>
            </a:fld>
            <a:endParaRPr lang="en-AU" smtClean="0"/>
          </a:p>
        </p:txBody>
      </p:sp>
      <p:sp>
        <p:nvSpPr>
          <p:cNvPr id="23555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2AC52622-A7A0-4CD5-9DE7-C14E9109F47D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3556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26 Introduction to IT-OPS Impact Analysis Process</a:t>
            </a:r>
            <a:endParaRPr lang="en-AU"/>
          </a:p>
        </p:txBody>
      </p:sp>
      <p:sp>
        <p:nvSpPr>
          <p:cNvPr id="23557" name="Slide Number Placeholder 4"/>
          <p:cNvSpPr txBox="1">
            <a:spLocks noGrp="1"/>
          </p:cNvSpPr>
          <p:nvPr/>
        </p:nvSpPr>
        <p:spPr bwMode="auto">
          <a:xfrm>
            <a:off x="196850" y="6477000"/>
            <a:ext cx="4683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eaLnBrk="1" hangingPunct="1"/>
            <a:fld id="{1B1EBCB3-7F41-4D43-AF4C-EB05A2576804}" type="slidenum">
              <a:rPr lang="en-GB" b="1">
                <a:solidFill>
                  <a:schemeClr val="bg1"/>
                </a:solidFill>
                <a:cs typeface="Arial" charset="0"/>
              </a:rPr>
              <a:pPr eaLnBrk="1" hangingPunct="1"/>
              <a:t>32</a:t>
            </a:fld>
            <a:endParaRPr lang="en-GB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355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act Analysis - </a:t>
            </a:r>
            <a:r>
              <a:rPr lang="en-US" dirty="0" err="1" smtClean="0"/>
              <a:t>Fulfilmen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b="1" dirty="0" smtClean="0"/>
              <a:t>In-App Advertising</a:t>
            </a:r>
          </a:p>
        </p:txBody>
      </p:sp>
      <p:sp>
        <p:nvSpPr>
          <p:cNvPr id="23559" name="Rectangle 4"/>
          <p:cNvSpPr>
            <a:spLocks noChangeArrowheads="1"/>
          </p:cNvSpPr>
          <p:nvPr/>
        </p:nvSpPr>
        <p:spPr bwMode="auto">
          <a:xfrm>
            <a:off x="249238" y="1501775"/>
            <a:ext cx="1503362" cy="5619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Fulfilment</a:t>
            </a:r>
          </a:p>
        </p:txBody>
      </p:sp>
      <p:sp>
        <p:nvSpPr>
          <p:cNvPr id="23560" name="Rectangle 5"/>
          <p:cNvSpPr>
            <a:spLocks noChangeArrowheads="1"/>
          </p:cNvSpPr>
          <p:nvPr/>
        </p:nvSpPr>
        <p:spPr bwMode="auto">
          <a:xfrm>
            <a:off x="8680450" y="1119188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Maintain</a:t>
            </a:r>
          </a:p>
        </p:txBody>
      </p:sp>
      <p:sp>
        <p:nvSpPr>
          <p:cNvPr id="23561" name="Rectangle 9"/>
          <p:cNvSpPr>
            <a:spLocks noChangeArrowheads="1"/>
          </p:cNvSpPr>
          <p:nvPr/>
        </p:nvSpPr>
        <p:spPr bwMode="auto">
          <a:xfrm>
            <a:off x="8680450" y="1500188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3562" name="Rectangle 7"/>
          <p:cNvSpPr>
            <a:spLocks noChangeArrowheads="1"/>
          </p:cNvSpPr>
          <p:nvPr/>
        </p:nvSpPr>
        <p:spPr bwMode="auto">
          <a:xfrm>
            <a:off x="1808163" y="1119188"/>
            <a:ext cx="5803900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3563" name="Rectangle 9"/>
          <p:cNvSpPr>
            <a:spLocks noChangeArrowheads="1"/>
          </p:cNvSpPr>
          <p:nvPr/>
        </p:nvSpPr>
        <p:spPr bwMode="auto">
          <a:xfrm>
            <a:off x="1808163" y="1500188"/>
            <a:ext cx="5803900" cy="5619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algn="l" eaLnBrk="1" hangingPunct="1">
              <a:spcBef>
                <a:spcPct val="20000"/>
              </a:spcBef>
            </a:pPr>
            <a:r>
              <a:rPr lang="en-GB" sz="1000" dirty="0" err="1" smtClean="0"/>
              <a:t>Fulfillment</a:t>
            </a:r>
            <a:r>
              <a:rPr lang="en-GB" sz="1000" dirty="0" smtClean="0"/>
              <a:t> requires developments in the host systems, acquisition of ad serving capabilities, creation of ads, and inventory management tools</a:t>
            </a:r>
            <a:endParaRPr lang="en-GB" sz="1000" dirty="0"/>
          </a:p>
        </p:txBody>
      </p:sp>
      <p:sp>
        <p:nvSpPr>
          <p:cNvPr id="23564" name="Rectangle 9"/>
          <p:cNvSpPr>
            <a:spLocks noChangeArrowheads="1"/>
          </p:cNvSpPr>
          <p:nvPr/>
        </p:nvSpPr>
        <p:spPr bwMode="auto">
          <a:xfrm>
            <a:off x="7667625" y="1120775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Develop</a:t>
            </a:r>
          </a:p>
        </p:txBody>
      </p:sp>
      <p:sp>
        <p:nvSpPr>
          <p:cNvPr id="23565" name="Rectangle 9"/>
          <p:cNvSpPr>
            <a:spLocks noChangeArrowheads="1"/>
          </p:cNvSpPr>
          <p:nvPr/>
        </p:nvSpPr>
        <p:spPr bwMode="auto">
          <a:xfrm>
            <a:off x="7667625" y="1501775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3566" name="Text Box 12"/>
          <p:cNvSpPr txBox="1">
            <a:spLocks noChangeArrowheads="1"/>
          </p:cNvSpPr>
          <p:nvPr/>
        </p:nvSpPr>
        <p:spPr bwMode="gray">
          <a:xfrm>
            <a:off x="249238" y="2116138"/>
            <a:ext cx="1528762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Business Requirement(s)</a:t>
            </a:r>
          </a:p>
        </p:txBody>
      </p:sp>
      <p:sp>
        <p:nvSpPr>
          <p:cNvPr id="23567" name="Text Box 13"/>
          <p:cNvSpPr txBox="1">
            <a:spLocks noChangeArrowheads="1"/>
          </p:cNvSpPr>
          <p:nvPr/>
        </p:nvSpPr>
        <p:spPr bwMode="gray">
          <a:xfrm>
            <a:off x="6530975" y="2116138"/>
            <a:ext cx="29337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Resources needed for development / maintenance</a:t>
            </a:r>
          </a:p>
        </p:txBody>
      </p:sp>
      <p:pic>
        <p:nvPicPr>
          <p:cNvPr id="23568" name="Picture 14" descr="toprightbubb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38242" r="18750"/>
          <a:stretch>
            <a:fillRect/>
          </a:stretch>
        </p:blipFill>
        <p:spPr bwMode="auto">
          <a:xfrm>
            <a:off x="8358188" y="-1588"/>
            <a:ext cx="1547812" cy="82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9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62963" y="22225"/>
            <a:ext cx="14255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400" b="1">
                <a:solidFill>
                  <a:schemeClr val="bg1"/>
                </a:solidFill>
              </a:rPr>
              <a:t>Impact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Analysis</a:t>
            </a:r>
          </a:p>
        </p:txBody>
      </p:sp>
      <p:graphicFrame>
        <p:nvGraphicFramePr>
          <p:cNvPr id="10387" name="Group 147"/>
          <p:cNvGraphicFramePr>
            <a:graphicFrameLocks noGrp="1"/>
          </p:cNvGraphicFramePr>
          <p:nvPr/>
        </p:nvGraphicFramePr>
        <p:xfrm>
          <a:off x="6529388" y="2360613"/>
          <a:ext cx="3098800" cy="4221415"/>
        </p:xfrm>
        <a:graphic>
          <a:graphicData uri="http://schemas.openxmlformats.org/drawingml/2006/table">
            <a:tbl>
              <a:tblPr/>
              <a:tblGrid>
                <a:gridCol w="895350"/>
                <a:gridCol w="550862"/>
                <a:gridCol w="550863"/>
                <a:gridCol w="550862"/>
                <a:gridCol w="550863"/>
              </a:tblGrid>
              <a:tr h="2206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REA</a:t>
                      </a: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ign</a:t>
                      </a: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uild</a:t>
                      </a: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st</a:t>
                      </a: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intain</a:t>
                      </a: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Selligent</a:t>
                      </a: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73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Backoffice Fulfilment</a:t>
                      </a: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6" marB="4678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3692" name="Rectangle 9"/>
          <p:cNvSpPr>
            <a:spLocks noChangeArrowheads="1"/>
          </p:cNvSpPr>
          <p:nvPr/>
        </p:nvSpPr>
        <p:spPr bwMode="auto">
          <a:xfrm>
            <a:off x="3382963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Assump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In-app advertising will go live in </a:t>
            </a:r>
            <a:r>
              <a:rPr lang="en-GB" sz="900" dirty="0" err="1" smtClean="0"/>
              <a:t>september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/>
              <a:t>Ad server will be in place to serve banners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Impact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/>
              <a:t>Creation of ads done in Op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/>
              <a:t>Loading of ads in ad server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/>
              <a:t>Control of available inventory though automated system </a:t>
            </a: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 smtClean="0"/>
              <a:t>Risks </a:t>
            </a:r>
            <a:r>
              <a:rPr lang="en-GB" sz="900" u="sng" dirty="0"/>
              <a:t>and mitigation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  </a:t>
            </a:r>
            <a:r>
              <a:rPr lang="en-GB" sz="900" dirty="0" smtClean="0"/>
              <a:t>Planning with Ops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endParaRPr lang="en-GB" sz="900" dirty="0"/>
          </a:p>
        </p:txBody>
      </p:sp>
      <p:sp>
        <p:nvSpPr>
          <p:cNvPr id="23693" name="Text Box 139"/>
          <p:cNvSpPr txBox="1">
            <a:spLocks noChangeArrowheads="1"/>
          </p:cNvSpPr>
          <p:nvPr/>
        </p:nvSpPr>
        <p:spPr bwMode="gray">
          <a:xfrm>
            <a:off x="3382963" y="2116138"/>
            <a:ext cx="2427287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/>
              <a:t>Assumptions, impact, risks and mitigation</a:t>
            </a:r>
          </a:p>
        </p:txBody>
      </p:sp>
      <p:sp>
        <p:nvSpPr>
          <p:cNvPr id="23694" name="Rectangle 9"/>
          <p:cNvSpPr>
            <a:spLocks noChangeArrowheads="1"/>
          </p:cNvSpPr>
          <p:nvPr/>
        </p:nvSpPr>
        <p:spPr bwMode="auto">
          <a:xfrm>
            <a:off x="249238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Contract load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No specific </a:t>
            </a:r>
            <a:r>
              <a:rPr lang="en-GB" sz="900" dirty="0" smtClean="0"/>
              <a:t>requirements - </a:t>
            </a:r>
            <a:r>
              <a:rPr lang="en-GB" sz="900" dirty="0"/>
              <a:t>contract loading to be done ‘as usual</a:t>
            </a:r>
            <a:r>
              <a:rPr lang="en-GB" sz="900" dirty="0" smtClean="0"/>
              <a:t>’ through existing tools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developments in AS400 and Birds required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Contract confirmation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No specific requirements, contract confirmation to be done ‘as usual’</a:t>
            </a:r>
            <a:endParaRPr lang="en-GB" sz="900" u="sng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Fulfilment / Delivery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Loading of contract in host system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Creation of ads 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Loading of ads in ad server with campaign details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Billing and collec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Product is billed separately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Collections to be done ‘as usual</a:t>
            </a:r>
            <a:r>
              <a:rPr lang="en-GB" sz="900" dirty="0" smtClean="0"/>
              <a:t>’</a:t>
            </a:r>
            <a:endParaRPr lang="en-GB" sz="900" u="sng" dirty="0" smtClean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 smtClean="0"/>
              <a:t>Canvass Management</a:t>
            </a:r>
          </a:p>
          <a:p>
            <a:pPr marL="546100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Considering  that item could be sold for periods shorter than 1 year, CO to be renewed needs to be handled differently</a:t>
            </a:r>
            <a:endParaRPr lang="en-GB" sz="900" u="sng" dirty="0" smtClean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 smtClean="0"/>
              <a:t>Campaign </a:t>
            </a:r>
            <a:r>
              <a:rPr lang="en-GB" sz="900" u="sng" dirty="0"/>
              <a:t>management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An ad server is required to manage the campaigns and gather additional information about usage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 smtClean="0"/>
              <a:t>An inventory management tool is required to keep track of existing inventory (in the short term there are 3 fixed slots; in the medium term, inventory is constrained by volume of impressions)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endParaRPr lang="en-GB" sz="900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41BB4DE-C0F1-422B-89BD-088D872D02DD}" type="slidenum">
              <a:rPr lang="en-AU" smtClean="0"/>
              <a:pPr/>
              <a:t>33</a:t>
            </a:fld>
            <a:endParaRPr lang="en-AU" smtClean="0"/>
          </a:p>
        </p:txBody>
      </p:sp>
      <p:sp>
        <p:nvSpPr>
          <p:cNvPr id="24579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04E97001-7AA2-4E48-93AA-98C84D8E5A50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4580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26 Introduction to IT-OPS Impact Analysis Process</a:t>
            </a:r>
            <a:endParaRPr lang="en-AU"/>
          </a:p>
        </p:txBody>
      </p:sp>
      <p:sp>
        <p:nvSpPr>
          <p:cNvPr id="24581" name="Slide Number Placeholder 4"/>
          <p:cNvSpPr txBox="1">
            <a:spLocks noGrp="1"/>
          </p:cNvSpPr>
          <p:nvPr/>
        </p:nvSpPr>
        <p:spPr bwMode="auto">
          <a:xfrm>
            <a:off x="196850" y="6477000"/>
            <a:ext cx="4683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eaLnBrk="1" hangingPunct="1"/>
            <a:fld id="{C50CF948-9F93-4121-9770-C561755196D4}" type="slidenum">
              <a:rPr lang="en-GB" b="1">
                <a:solidFill>
                  <a:schemeClr val="bg1"/>
                </a:solidFill>
                <a:cs typeface="Arial" charset="0"/>
              </a:rPr>
              <a:pPr eaLnBrk="1" hangingPunct="1"/>
              <a:t>33</a:t>
            </a:fld>
            <a:endParaRPr lang="en-GB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458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act Analysis - Support</a:t>
            </a:r>
            <a:br>
              <a:rPr lang="en-US" dirty="0" smtClean="0"/>
            </a:br>
            <a:r>
              <a:rPr lang="en-US" dirty="0" smtClean="0"/>
              <a:t>In-App Advertising</a:t>
            </a:r>
            <a:endParaRPr lang="en-US" b="1" dirty="0" smtClean="0"/>
          </a:p>
        </p:txBody>
      </p:sp>
      <p:sp>
        <p:nvSpPr>
          <p:cNvPr id="24583" name="Rectangle 4"/>
          <p:cNvSpPr>
            <a:spLocks noChangeArrowheads="1"/>
          </p:cNvSpPr>
          <p:nvPr/>
        </p:nvSpPr>
        <p:spPr bwMode="auto">
          <a:xfrm>
            <a:off x="249238" y="1501775"/>
            <a:ext cx="1503362" cy="5619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pport</a:t>
            </a:r>
          </a:p>
        </p:txBody>
      </p:sp>
      <p:sp>
        <p:nvSpPr>
          <p:cNvPr id="24584" name="Rectangle 5"/>
          <p:cNvSpPr>
            <a:spLocks noChangeArrowheads="1"/>
          </p:cNvSpPr>
          <p:nvPr/>
        </p:nvSpPr>
        <p:spPr bwMode="auto">
          <a:xfrm>
            <a:off x="8680450" y="1119188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Maintain</a:t>
            </a:r>
          </a:p>
        </p:txBody>
      </p:sp>
      <p:sp>
        <p:nvSpPr>
          <p:cNvPr id="24585" name="Rectangle 9"/>
          <p:cNvSpPr>
            <a:spLocks noChangeArrowheads="1"/>
          </p:cNvSpPr>
          <p:nvPr/>
        </p:nvSpPr>
        <p:spPr bwMode="auto">
          <a:xfrm>
            <a:off x="8680450" y="1500188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4586" name="Rectangle 7"/>
          <p:cNvSpPr>
            <a:spLocks noChangeArrowheads="1"/>
          </p:cNvSpPr>
          <p:nvPr/>
        </p:nvSpPr>
        <p:spPr bwMode="auto">
          <a:xfrm>
            <a:off x="1808163" y="1119188"/>
            <a:ext cx="5803900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4587" name="Rectangle 9"/>
          <p:cNvSpPr>
            <a:spLocks noChangeArrowheads="1"/>
          </p:cNvSpPr>
          <p:nvPr/>
        </p:nvSpPr>
        <p:spPr bwMode="auto">
          <a:xfrm>
            <a:off x="1808163" y="1500188"/>
            <a:ext cx="5803900" cy="5619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algn="l" eaLnBrk="1" hangingPunct="1">
              <a:spcBef>
                <a:spcPct val="20000"/>
              </a:spcBef>
            </a:pPr>
            <a:r>
              <a:rPr lang="en-GB" sz="1000" dirty="0"/>
              <a:t>Initial training support  (integrated in cycle launch) and support to </a:t>
            </a:r>
            <a:r>
              <a:rPr lang="en-GB" sz="1000" dirty="0" smtClean="0"/>
              <a:t>Ops and Customer Care</a:t>
            </a:r>
            <a:endParaRPr lang="en-GB" sz="1000" dirty="0"/>
          </a:p>
        </p:txBody>
      </p:sp>
      <p:sp>
        <p:nvSpPr>
          <p:cNvPr id="24588" name="Rectangle 9"/>
          <p:cNvSpPr>
            <a:spLocks noChangeArrowheads="1"/>
          </p:cNvSpPr>
          <p:nvPr/>
        </p:nvSpPr>
        <p:spPr bwMode="auto">
          <a:xfrm>
            <a:off x="7667625" y="1120775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Develop</a:t>
            </a:r>
          </a:p>
        </p:txBody>
      </p:sp>
      <p:sp>
        <p:nvSpPr>
          <p:cNvPr id="24589" name="Rectangle 9"/>
          <p:cNvSpPr>
            <a:spLocks noChangeArrowheads="1"/>
          </p:cNvSpPr>
          <p:nvPr/>
        </p:nvSpPr>
        <p:spPr bwMode="auto">
          <a:xfrm>
            <a:off x="7667625" y="1501775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r>
              <a:rPr lang="en-GB"/>
              <a:t>..</a:t>
            </a:r>
          </a:p>
        </p:txBody>
      </p:sp>
      <p:sp>
        <p:nvSpPr>
          <p:cNvPr id="24590" name="Text Box 12"/>
          <p:cNvSpPr txBox="1">
            <a:spLocks noChangeArrowheads="1"/>
          </p:cNvSpPr>
          <p:nvPr/>
        </p:nvSpPr>
        <p:spPr bwMode="gray">
          <a:xfrm>
            <a:off x="249238" y="2116138"/>
            <a:ext cx="1528762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Business Requirement(s)</a:t>
            </a:r>
          </a:p>
        </p:txBody>
      </p:sp>
      <p:sp>
        <p:nvSpPr>
          <p:cNvPr id="24591" name="Text Box 13"/>
          <p:cNvSpPr txBox="1">
            <a:spLocks noChangeArrowheads="1"/>
          </p:cNvSpPr>
          <p:nvPr/>
        </p:nvSpPr>
        <p:spPr bwMode="gray">
          <a:xfrm>
            <a:off x="6530975" y="2116138"/>
            <a:ext cx="29337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Resources needed for development / maintenance</a:t>
            </a:r>
          </a:p>
        </p:txBody>
      </p:sp>
      <p:pic>
        <p:nvPicPr>
          <p:cNvPr id="24592" name="Picture 14" descr="toprightbubb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38242" r="18750"/>
          <a:stretch>
            <a:fillRect/>
          </a:stretch>
        </p:blipFill>
        <p:spPr bwMode="auto">
          <a:xfrm>
            <a:off x="8358188" y="-1588"/>
            <a:ext cx="1547812" cy="82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93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62963" y="22225"/>
            <a:ext cx="14255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400" b="1">
                <a:solidFill>
                  <a:schemeClr val="bg1"/>
                </a:solidFill>
              </a:rPr>
              <a:t>Impact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Analysis</a:t>
            </a:r>
          </a:p>
        </p:txBody>
      </p:sp>
      <p:graphicFrame>
        <p:nvGraphicFramePr>
          <p:cNvPr id="11410" name="Group 146"/>
          <p:cNvGraphicFramePr>
            <a:graphicFrameLocks noGrp="1"/>
          </p:cNvGraphicFramePr>
          <p:nvPr/>
        </p:nvGraphicFramePr>
        <p:xfrm>
          <a:off x="6529388" y="2360613"/>
          <a:ext cx="3098800" cy="4235445"/>
        </p:xfrm>
        <a:graphic>
          <a:graphicData uri="http://schemas.openxmlformats.org/drawingml/2006/table">
            <a:tbl>
              <a:tblPr/>
              <a:tblGrid>
                <a:gridCol w="895350"/>
                <a:gridCol w="550862"/>
                <a:gridCol w="550863"/>
                <a:gridCol w="550862"/>
                <a:gridCol w="550863"/>
              </a:tblGrid>
              <a:tr h="2207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REA</a:t>
                      </a: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ign</a:t>
                      </a: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uild</a:t>
                      </a: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st</a:t>
                      </a: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intain</a:t>
                      </a: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337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Back Office 2</a:t>
                      </a:r>
                      <a:r>
                        <a:rPr kumimoji="0" lang="en-GB" sz="8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nd</a:t>
                      </a: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 line support</a:t>
                      </a: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6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9" marB="467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716" name="Text Box 138"/>
          <p:cNvSpPr txBox="1">
            <a:spLocks noChangeArrowheads="1"/>
          </p:cNvSpPr>
          <p:nvPr/>
        </p:nvSpPr>
        <p:spPr bwMode="gray">
          <a:xfrm>
            <a:off x="3382963" y="2116138"/>
            <a:ext cx="2427287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/>
              <a:t>Assumptions, impact, risks and mitigation</a:t>
            </a:r>
          </a:p>
        </p:txBody>
      </p:sp>
      <p:sp>
        <p:nvSpPr>
          <p:cNvPr id="24717" name="Rectangle 9"/>
          <p:cNvSpPr>
            <a:spLocks noChangeArrowheads="1"/>
          </p:cNvSpPr>
          <p:nvPr/>
        </p:nvSpPr>
        <p:spPr bwMode="auto">
          <a:xfrm>
            <a:off x="3392488" y="23352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>
                <a:solidFill>
                  <a:schemeClr val="tx2"/>
                </a:solidFill>
              </a:rPr>
              <a:t>Assump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>
                <a:solidFill>
                  <a:schemeClr val="tx2"/>
                </a:solidFill>
              </a:rPr>
              <a:t>Training to customer care and Ops provided by Sales Training</a:t>
            </a:r>
            <a:endParaRPr lang="en-GB" sz="900" dirty="0">
              <a:solidFill>
                <a:schemeClr val="tx2"/>
              </a:solidFill>
            </a:endParaRP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>
                <a:solidFill>
                  <a:schemeClr val="tx2"/>
                </a:solidFill>
              </a:rPr>
              <a:t>Impact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>
                <a:solidFill>
                  <a:schemeClr val="tx2"/>
                </a:solidFill>
              </a:rPr>
              <a:t>Development of training materials and training of support personnel to be aligned with Operations and included in national training calendars 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>
                <a:solidFill>
                  <a:schemeClr val="tx2"/>
                </a:solidFill>
              </a:rPr>
              <a:t>Logging of complaints (by </a:t>
            </a:r>
            <a:r>
              <a:rPr lang="en-GB" sz="900" dirty="0" smtClean="0">
                <a:solidFill>
                  <a:schemeClr val="tx2"/>
                </a:solidFill>
              </a:rPr>
              <a:t>advertisers </a:t>
            </a:r>
            <a:r>
              <a:rPr lang="en-GB" sz="900" dirty="0">
                <a:solidFill>
                  <a:schemeClr val="tx2"/>
                </a:solidFill>
              </a:rPr>
              <a:t>should be enabled in Selligent</a:t>
            </a: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>
                <a:solidFill>
                  <a:schemeClr val="tx2"/>
                </a:solidFill>
              </a:rPr>
              <a:t>Risk and mitigation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>
                <a:solidFill>
                  <a:schemeClr val="tx2"/>
                </a:solidFill>
              </a:rPr>
              <a:t>None</a:t>
            </a:r>
          </a:p>
        </p:txBody>
      </p:sp>
      <p:sp>
        <p:nvSpPr>
          <p:cNvPr id="24718" name="Rectangle 9"/>
          <p:cNvSpPr>
            <a:spLocks noChangeArrowheads="1"/>
          </p:cNvSpPr>
          <p:nvPr/>
        </p:nvSpPr>
        <p:spPr bwMode="auto">
          <a:xfrm>
            <a:off x="249238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Training material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Sales Collateral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Train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Training of sales staff </a:t>
            </a:r>
            <a:r>
              <a:rPr lang="en-GB" sz="900" dirty="0" smtClean="0"/>
              <a:t>as </a:t>
            </a:r>
            <a:r>
              <a:rPr lang="en-GB" sz="900" dirty="0"/>
              <a:t>part of </a:t>
            </a:r>
            <a:r>
              <a:rPr lang="en-GB" sz="900" dirty="0" err="1"/>
              <a:t>Truvo</a:t>
            </a:r>
            <a:r>
              <a:rPr lang="en-GB" sz="900" dirty="0"/>
              <a:t> Cycle launch 2011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Training of </a:t>
            </a:r>
            <a:r>
              <a:rPr lang="en-GB" sz="900" dirty="0" smtClean="0"/>
              <a:t>Ops and Customer Care</a:t>
            </a:r>
            <a:endParaRPr lang="en-GB" sz="900" u="sng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 smtClean="0"/>
              <a:t>Complaint </a:t>
            </a:r>
            <a:r>
              <a:rPr lang="en-GB" sz="900" u="sng" dirty="0"/>
              <a:t>handl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Business as Usual, no additional requirements</a:t>
            </a: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Database management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Business as Usual, no additional requirements</a:t>
            </a: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771A3B58-1FF9-446C-80EE-2AE12BE0C866}" type="slidenum">
              <a:rPr lang="en-AU" smtClean="0"/>
              <a:pPr/>
              <a:t>34</a:t>
            </a:fld>
            <a:endParaRPr lang="en-AU" smtClean="0"/>
          </a:p>
        </p:txBody>
      </p:sp>
      <p:sp>
        <p:nvSpPr>
          <p:cNvPr id="25603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BE70AC9D-290C-4625-9467-A203360AFA4B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5604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26 Introduction to IT-OPS Impact Analysis Process</a:t>
            </a:r>
            <a:endParaRPr lang="en-AU"/>
          </a:p>
        </p:txBody>
      </p:sp>
      <p:sp>
        <p:nvSpPr>
          <p:cNvPr id="25605" name="Slide Number Placeholder 4"/>
          <p:cNvSpPr txBox="1">
            <a:spLocks noGrp="1"/>
          </p:cNvSpPr>
          <p:nvPr/>
        </p:nvSpPr>
        <p:spPr bwMode="auto">
          <a:xfrm>
            <a:off x="196850" y="6477000"/>
            <a:ext cx="4683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eaLnBrk="1" hangingPunct="1"/>
            <a:fld id="{8FEB0261-405B-4C84-BB15-744AC453FE02}" type="slidenum">
              <a:rPr lang="en-GB" b="1">
                <a:solidFill>
                  <a:schemeClr val="bg1"/>
                </a:solidFill>
                <a:cs typeface="Arial" charset="0"/>
              </a:rPr>
              <a:pPr eaLnBrk="1" hangingPunct="1"/>
              <a:t>34</a:t>
            </a:fld>
            <a:endParaRPr lang="en-GB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560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act Analysis - Reporting</a:t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b="1" dirty="0" smtClean="0"/>
              <a:t>In-App Advertising</a:t>
            </a:r>
          </a:p>
        </p:txBody>
      </p:sp>
      <p:sp>
        <p:nvSpPr>
          <p:cNvPr id="25607" name="Rectangle 4"/>
          <p:cNvSpPr>
            <a:spLocks noChangeArrowheads="1"/>
          </p:cNvSpPr>
          <p:nvPr/>
        </p:nvSpPr>
        <p:spPr bwMode="auto">
          <a:xfrm>
            <a:off x="249238" y="1501775"/>
            <a:ext cx="1503362" cy="5619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Reporting</a:t>
            </a:r>
          </a:p>
        </p:txBody>
      </p:sp>
      <p:sp>
        <p:nvSpPr>
          <p:cNvPr id="25608" name="Rectangle 5"/>
          <p:cNvSpPr>
            <a:spLocks noChangeArrowheads="1"/>
          </p:cNvSpPr>
          <p:nvPr/>
        </p:nvSpPr>
        <p:spPr bwMode="auto">
          <a:xfrm>
            <a:off x="8680450" y="1119188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Maintain</a:t>
            </a:r>
          </a:p>
        </p:txBody>
      </p:sp>
      <p:sp>
        <p:nvSpPr>
          <p:cNvPr id="25609" name="Rectangle 9"/>
          <p:cNvSpPr>
            <a:spLocks noChangeArrowheads="1"/>
          </p:cNvSpPr>
          <p:nvPr/>
        </p:nvSpPr>
        <p:spPr bwMode="auto">
          <a:xfrm>
            <a:off x="8680450" y="1500188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r>
              <a:rPr lang="en-GB"/>
              <a:t>..</a:t>
            </a:r>
          </a:p>
        </p:txBody>
      </p:sp>
      <p:sp>
        <p:nvSpPr>
          <p:cNvPr id="25610" name="Rectangle 7"/>
          <p:cNvSpPr>
            <a:spLocks noChangeArrowheads="1"/>
          </p:cNvSpPr>
          <p:nvPr/>
        </p:nvSpPr>
        <p:spPr bwMode="auto">
          <a:xfrm>
            <a:off x="1808163" y="1119188"/>
            <a:ext cx="5803900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5611" name="Rectangle 9"/>
          <p:cNvSpPr>
            <a:spLocks noChangeArrowheads="1"/>
          </p:cNvSpPr>
          <p:nvPr/>
        </p:nvSpPr>
        <p:spPr bwMode="auto">
          <a:xfrm>
            <a:off x="1808163" y="1500188"/>
            <a:ext cx="5803900" cy="5619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algn="l" eaLnBrk="1" hangingPunct="1">
              <a:spcBef>
                <a:spcPct val="20000"/>
              </a:spcBef>
            </a:pPr>
            <a:r>
              <a:rPr lang="en-GB" sz="1000"/>
              <a:t>Both sales as usage statistics need to be tracked into the reporting systems and included in advertisers’ analytics</a:t>
            </a:r>
          </a:p>
        </p:txBody>
      </p:sp>
      <p:sp>
        <p:nvSpPr>
          <p:cNvPr id="25612" name="Rectangle 9"/>
          <p:cNvSpPr>
            <a:spLocks noChangeArrowheads="1"/>
          </p:cNvSpPr>
          <p:nvPr/>
        </p:nvSpPr>
        <p:spPr bwMode="auto">
          <a:xfrm>
            <a:off x="7667625" y="1120775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Develop</a:t>
            </a:r>
          </a:p>
        </p:txBody>
      </p:sp>
      <p:sp>
        <p:nvSpPr>
          <p:cNvPr id="25613" name="Rectangle 9"/>
          <p:cNvSpPr>
            <a:spLocks noChangeArrowheads="1"/>
          </p:cNvSpPr>
          <p:nvPr/>
        </p:nvSpPr>
        <p:spPr bwMode="auto">
          <a:xfrm>
            <a:off x="7667625" y="1501775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5614" name="Rectangle 9"/>
          <p:cNvSpPr>
            <a:spLocks noChangeArrowheads="1"/>
          </p:cNvSpPr>
          <p:nvPr/>
        </p:nvSpPr>
        <p:spPr bwMode="auto">
          <a:xfrm>
            <a:off x="249238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Internal report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Included in Marketing </a:t>
            </a:r>
            <a:r>
              <a:rPr lang="en-GB" sz="900" dirty="0" err="1"/>
              <a:t>Datawarehouse</a:t>
            </a:r>
            <a:r>
              <a:rPr lang="en-GB" sz="900" dirty="0"/>
              <a:t> for product performance track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Extended usage statistics via </a:t>
            </a:r>
            <a:r>
              <a:rPr lang="en-GB" sz="900" dirty="0" err="1"/>
              <a:t>Webtrends</a:t>
            </a:r>
            <a:r>
              <a:rPr lang="en-GB" sz="900" dirty="0"/>
              <a:t> tagg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 </a:t>
            </a:r>
            <a:r>
              <a:rPr lang="en-GB" sz="900" dirty="0" smtClean="0"/>
              <a:t>Extra Reporting available through ad server</a:t>
            </a:r>
            <a:endParaRPr lang="en-GB" sz="900" dirty="0"/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u="sng" dirty="0"/>
              <a:t>External reporting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8900" algn="l"/>
              </a:tabLst>
            </a:pPr>
            <a:r>
              <a:rPr lang="en-GB" sz="900" dirty="0"/>
              <a:t>Analytics to be available in </a:t>
            </a:r>
            <a:r>
              <a:rPr lang="en-GB" sz="900" dirty="0" err="1"/>
              <a:t>Truvo</a:t>
            </a:r>
            <a:r>
              <a:rPr lang="en-GB" sz="900" dirty="0"/>
              <a:t> Lounge</a:t>
            </a:r>
          </a:p>
        </p:txBody>
      </p:sp>
      <p:sp>
        <p:nvSpPr>
          <p:cNvPr id="25615" name="Text Box 12"/>
          <p:cNvSpPr txBox="1">
            <a:spLocks noChangeArrowheads="1"/>
          </p:cNvSpPr>
          <p:nvPr/>
        </p:nvSpPr>
        <p:spPr bwMode="gray">
          <a:xfrm>
            <a:off x="249238" y="2116138"/>
            <a:ext cx="1528762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Business Requirement(s)</a:t>
            </a:r>
          </a:p>
        </p:txBody>
      </p:sp>
      <p:sp>
        <p:nvSpPr>
          <p:cNvPr id="25616" name="Text Box 13"/>
          <p:cNvSpPr txBox="1">
            <a:spLocks noChangeArrowheads="1"/>
          </p:cNvSpPr>
          <p:nvPr/>
        </p:nvSpPr>
        <p:spPr bwMode="gray">
          <a:xfrm>
            <a:off x="6530975" y="2116138"/>
            <a:ext cx="29337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Resources needed for development / maintenance</a:t>
            </a:r>
          </a:p>
        </p:txBody>
      </p:sp>
      <p:pic>
        <p:nvPicPr>
          <p:cNvPr id="25617" name="Picture 14" descr="toprightbubb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38242" r="18750"/>
          <a:stretch>
            <a:fillRect/>
          </a:stretch>
        </p:blipFill>
        <p:spPr bwMode="auto">
          <a:xfrm>
            <a:off x="8358188" y="-1588"/>
            <a:ext cx="1547812" cy="82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18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62963" y="22225"/>
            <a:ext cx="14255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400" b="1">
                <a:solidFill>
                  <a:schemeClr val="bg1"/>
                </a:solidFill>
              </a:rPr>
              <a:t>Impact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Analysis</a:t>
            </a:r>
          </a:p>
        </p:txBody>
      </p:sp>
      <p:graphicFrame>
        <p:nvGraphicFramePr>
          <p:cNvPr id="12432" name="Group 144"/>
          <p:cNvGraphicFramePr>
            <a:graphicFrameLocks noGrp="1"/>
          </p:cNvGraphicFramePr>
          <p:nvPr/>
        </p:nvGraphicFramePr>
        <p:xfrm>
          <a:off x="6529388" y="2360613"/>
          <a:ext cx="3098800" cy="4099333"/>
        </p:xfrm>
        <a:graphic>
          <a:graphicData uri="http://schemas.openxmlformats.org/drawingml/2006/table">
            <a:tbl>
              <a:tblPr/>
              <a:tblGrid>
                <a:gridCol w="895350"/>
                <a:gridCol w="550862"/>
                <a:gridCol w="550863"/>
                <a:gridCol w="550862"/>
                <a:gridCol w="550863"/>
              </a:tblGrid>
              <a:tr h="2206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REA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ign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uild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st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intain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Webtrends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DWH</a:t>
                      </a: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4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82" marB="467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741" name="Rectangle 9"/>
          <p:cNvSpPr>
            <a:spLocks noChangeArrowheads="1"/>
          </p:cNvSpPr>
          <p:nvPr/>
        </p:nvSpPr>
        <p:spPr bwMode="auto">
          <a:xfrm>
            <a:off x="3382963" y="2360613"/>
            <a:ext cx="3103562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Assump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All relevant </a:t>
            </a:r>
            <a:r>
              <a:rPr lang="en-GB" sz="900" dirty="0" smtClean="0"/>
              <a:t>metrics (impressions and clicks) are </a:t>
            </a:r>
            <a:r>
              <a:rPr lang="en-GB" sz="900" dirty="0"/>
              <a:t>tagged and measured..</a:t>
            </a: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 smtClean="0"/>
              <a:t>Impact</a:t>
            </a:r>
            <a:endParaRPr lang="en-GB" sz="900" u="sng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err="1"/>
              <a:t>Webtrends</a:t>
            </a:r>
            <a:r>
              <a:rPr lang="en-GB" sz="900" dirty="0"/>
              <a:t> </a:t>
            </a:r>
            <a:r>
              <a:rPr lang="en-GB" sz="900" dirty="0" smtClean="0"/>
              <a:t>Tagging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/>
              <a:t>Info storage in </a:t>
            </a:r>
            <a:r>
              <a:rPr lang="en-GB" sz="900" dirty="0" err="1"/>
              <a:t>Datawarehouse</a:t>
            </a:r>
            <a:endParaRPr lang="en-GB" sz="900" dirty="0"/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err="1"/>
              <a:t>Truvo</a:t>
            </a:r>
            <a:r>
              <a:rPr lang="en-GB" sz="900" dirty="0"/>
              <a:t> Lounge</a:t>
            </a:r>
          </a:p>
          <a:p>
            <a:pPr marL="88900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u="sng" dirty="0"/>
              <a:t>Risks and mitigation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r>
              <a:rPr lang="en-GB" sz="900" dirty="0" smtClean="0"/>
              <a:t>Planning with New Media</a:t>
            </a:r>
            <a:endParaRPr lang="en-GB" sz="900" dirty="0"/>
          </a:p>
        </p:txBody>
      </p:sp>
      <p:sp>
        <p:nvSpPr>
          <p:cNvPr id="25742" name="Text Box 139"/>
          <p:cNvSpPr txBox="1">
            <a:spLocks noChangeArrowheads="1"/>
          </p:cNvSpPr>
          <p:nvPr/>
        </p:nvSpPr>
        <p:spPr bwMode="gray">
          <a:xfrm>
            <a:off x="3382963" y="2116138"/>
            <a:ext cx="2427287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/>
              <a:t>Assumptions, impact, risks and mitigation</a:t>
            </a: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CBFBD48-E9EB-4E04-BFE5-0A3AE2903747}" type="slidenum">
              <a:rPr lang="en-AU" smtClean="0"/>
              <a:pPr/>
              <a:t>35</a:t>
            </a:fld>
            <a:endParaRPr lang="en-AU" smtClean="0"/>
          </a:p>
        </p:txBody>
      </p:sp>
      <p:sp>
        <p:nvSpPr>
          <p:cNvPr id="26627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5B5862D7-979C-45F0-9081-B1F1B177A3DF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6628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26 Introduction to IT-OPS Impact Analysis Process</a:t>
            </a:r>
            <a:endParaRPr lang="en-AU"/>
          </a:p>
        </p:txBody>
      </p:sp>
      <p:sp>
        <p:nvSpPr>
          <p:cNvPr id="26629" name="Slide Number Placeholder 4"/>
          <p:cNvSpPr txBox="1">
            <a:spLocks noGrp="1"/>
          </p:cNvSpPr>
          <p:nvPr/>
        </p:nvSpPr>
        <p:spPr bwMode="auto">
          <a:xfrm>
            <a:off x="196850" y="6477000"/>
            <a:ext cx="468313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eaLnBrk="1" hangingPunct="1"/>
            <a:fld id="{007E4909-E290-4736-9D1E-A9FEBB97F531}" type="slidenum">
              <a:rPr lang="en-GB" b="1">
                <a:solidFill>
                  <a:schemeClr val="bg1"/>
                </a:solidFill>
                <a:cs typeface="Arial" charset="0"/>
              </a:rPr>
              <a:pPr eaLnBrk="1" hangingPunct="1"/>
              <a:t>35</a:t>
            </a:fld>
            <a:endParaRPr lang="en-GB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663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mpact Analysis – Summary and recommendations</a:t>
            </a:r>
            <a:br>
              <a:rPr lang="en-US" smtClean="0"/>
            </a:br>
            <a:r>
              <a:rPr lang="en-US" smtClean="0"/>
              <a:t> </a:t>
            </a:r>
            <a:r>
              <a:rPr lang="en-US" b="1" smtClean="0"/>
              <a:t>Virtual Paper</a:t>
            </a:r>
          </a:p>
        </p:txBody>
      </p:sp>
      <p:sp>
        <p:nvSpPr>
          <p:cNvPr id="26631" name="Rectangle 4"/>
          <p:cNvSpPr>
            <a:spLocks noChangeArrowheads="1"/>
          </p:cNvSpPr>
          <p:nvPr/>
        </p:nvSpPr>
        <p:spPr bwMode="auto">
          <a:xfrm>
            <a:off x="249238" y="1501775"/>
            <a:ext cx="1503362" cy="561975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6632" name="Rectangle 5"/>
          <p:cNvSpPr>
            <a:spLocks noChangeArrowheads="1"/>
          </p:cNvSpPr>
          <p:nvPr/>
        </p:nvSpPr>
        <p:spPr bwMode="auto">
          <a:xfrm>
            <a:off x="8680450" y="1119188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Maintain</a:t>
            </a:r>
          </a:p>
        </p:txBody>
      </p:sp>
      <p:sp>
        <p:nvSpPr>
          <p:cNvPr id="26633" name="Rectangle 9"/>
          <p:cNvSpPr>
            <a:spLocks noChangeArrowheads="1"/>
          </p:cNvSpPr>
          <p:nvPr/>
        </p:nvSpPr>
        <p:spPr bwMode="auto">
          <a:xfrm>
            <a:off x="8680450" y="1500188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6634" name="Rectangle 7"/>
          <p:cNvSpPr>
            <a:spLocks noChangeArrowheads="1"/>
          </p:cNvSpPr>
          <p:nvPr/>
        </p:nvSpPr>
        <p:spPr bwMode="auto">
          <a:xfrm>
            <a:off x="1808163" y="1119188"/>
            <a:ext cx="5803900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6635" name="Rectangle 9"/>
          <p:cNvSpPr>
            <a:spLocks noChangeArrowheads="1"/>
          </p:cNvSpPr>
          <p:nvPr/>
        </p:nvSpPr>
        <p:spPr bwMode="auto">
          <a:xfrm>
            <a:off x="1808163" y="1500188"/>
            <a:ext cx="5803900" cy="5619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algn="l" eaLnBrk="1" hangingPunct="1">
              <a:spcBef>
                <a:spcPct val="20000"/>
              </a:spcBef>
            </a:pPr>
            <a:r>
              <a:rPr lang="en-GB" sz="1000"/>
              <a:t>..</a:t>
            </a:r>
          </a:p>
        </p:txBody>
      </p:sp>
      <p:sp>
        <p:nvSpPr>
          <p:cNvPr id="26636" name="Rectangle 9"/>
          <p:cNvSpPr>
            <a:spLocks noChangeArrowheads="1"/>
          </p:cNvSpPr>
          <p:nvPr/>
        </p:nvSpPr>
        <p:spPr bwMode="auto">
          <a:xfrm>
            <a:off x="7667625" y="1120775"/>
            <a:ext cx="955675" cy="336550"/>
          </a:xfrm>
          <a:prstGeom prst="rect">
            <a:avLst/>
          </a:prstGeom>
          <a:solidFill>
            <a:srgbClr val="808080"/>
          </a:solidFill>
          <a:ln w="19050" algn="ctr">
            <a:solidFill>
              <a:srgbClr val="808080"/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400" b="1">
                <a:solidFill>
                  <a:schemeClr val="bg1"/>
                </a:solidFill>
              </a:rPr>
              <a:t>Develop</a:t>
            </a:r>
          </a:p>
        </p:txBody>
      </p:sp>
      <p:sp>
        <p:nvSpPr>
          <p:cNvPr id="26637" name="Rectangle 9"/>
          <p:cNvSpPr>
            <a:spLocks noChangeArrowheads="1"/>
          </p:cNvSpPr>
          <p:nvPr/>
        </p:nvSpPr>
        <p:spPr bwMode="auto">
          <a:xfrm>
            <a:off x="7667625" y="1501775"/>
            <a:ext cx="955675" cy="56197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/>
          <a:p>
            <a:pPr eaLnBrk="1" hangingPunct="1">
              <a:spcBef>
                <a:spcPct val="20000"/>
              </a:spcBef>
            </a:pPr>
            <a:endParaRPr lang="en-GB" dirty="0"/>
          </a:p>
        </p:txBody>
      </p:sp>
      <p:sp>
        <p:nvSpPr>
          <p:cNvPr id="26638" name="Text Box 11"/>
          <p:cNvSpPr txBox="1">
            <a:spLocks noChangeArrowheads="1"/>
          </p:cNvSpPr>
          <p:nvPr/>
        </p:nvSpPr>
        <p:spPr bwMode="gray">
          <a:xfrm>
            <a:off x="250825" y="2116138"/>
            <a:ext cx="29337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Resources needed for development / maintenance</a:t>
            </a:r>
          </a:p>
        </p:txBody>
      </p:sp>
      <p:pic>
        <p:nvPicPr>
          <p:cNvPr id="26639" name="Picture 12" descr="toprightbubb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38242" r="18750"/>
          <a:stretch>
            <a:fillRect/>
          </a:stretch>
        </p:blipFill>
        <p:spPr bwMode="auto">
          <a:xfrm>
            <a:off x="8358188" y="-1588"/>
            <a:ext cx="1547812" cy="82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40" name="Text Box 1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62963" y="22225"/>
            <a:ext cx="14255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400" b="1">
                <a:solidFill>
                  <a:schemeClr val="bg1"/>
                </a:solidFill>
              </a:rPr>
              <a:t>Impact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Analysis</a:t>
            </a:r>
          </a:p>
        </p:txBody>
      </p:sp>
      <p:graphicFrame>
        <p:nvGraphicFramePr>
          <p:cNvPr id="13567" name="Group 255"/>
          <p:cNvGraphicFramePr>
            <a:graphicFrameLocks noGrp="1"/>
          </p:cNvGraphicFramePr>
          <p:nvPr/>
        </p:nvGraphicFramePr>
        <p:xfrm>
          <a:off x="249238" y="2355850"/>
          <a:ext cx="3098800" cy="3916363"/>
        </p:xfrm>
        <a:graphic>
          <a:graphicData uri="http://schemas.openxmlformats.org/drawingml/2006/table">
            <a:tbl>
              <a:tblPr/>
              <a:tblGrid>
                <a:gridCol w="895350"/>
                <a:gridCol w="550862"/>
                <a:gridCol w="550863"/>
                <a:gridCol w="550862"/>
                <a:gridCol w="550863"/>
              </a:tblGrid>
              <a:tr h="2254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OTAL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ign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uild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st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intain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AS400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Birds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MySites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Yellow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Truvo Tech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8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Propricing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Selligent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Backoffice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Support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Webtrends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DWH</a:t>
                      </a: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791" marB="467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6757" name="Text Box 136"/>
          <p:cNvSpPr txBox="1">
            <a:spLocks noChangeArrowheads="1"/>
          </p:cNvSpPr>
          <p:nvPr/>
        </p:nvSpPr>
        <p:spPr bwMode="gray">
          <a:xfrm>
            <a:off x="3455988" y="2136775"/>
            <a:ext cx="2081212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/>
              <a:t>Conclusions and recommendations</a:t>
            </a:r>
          </a:p>
        </p:txBody>
      </p:sp>
      <p:sp>
        <p:nvSpPr>
          <p:cNvPr id="26758" name="Rectangle 9"/>
          <p:cNvSpPr>
            <a:spLocks noChangeArrowheads="1"/>
          </p:cNvSpPr>
          <p:nvPr/>
        </p:nvSpPr>
        <p:spPr bwMode="auto">
          <a:xfrm>
            <a:off x="3455988" y="2360613"/>
            <a:ext cx="6180137" cy="41021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marL="88900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 u="sng"/>
              <a:t>Conclusion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/>
              <a:t>..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endParaRPr lang="en-GB" sz="1000"/>
          </a:p>
          <a:p>
            <a:pPr marL="88900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 u="sng"/>
              <a:t>Recommendation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/>
              <a:t>..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endParaRPr lang="en-GB" sz="1000"/>
          </a:p>
          <a:p>
            <a:pPr marL="88900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 u="sng"/>
              <a:t>Earliest possible launch date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/>
              <a:t>..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endParaRPr lang="en-GB" sz="1000"/>
          </a:p>
          <a:p>
            <a:pPr marL="88900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 u="sng"/>
              <a:t>Major risks and dependencies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Char char="•"/>
              <a:tabLst>
                <a:tab pos="85725" algn="l"/>
              </a:tabLst>
            </a:pPr>
            <a:r>
              <a:rPr lang="en-GB" sz="1000"/>
              <a:t>..</a:t>
            </a:r>
          </a:p>
          <a:p>
            <a:pPr marL="357188" lvl="1" indent="-88900" algn="l" eaLnBrk="1" hangingPunct="1">
              <a:spcBef>
                <a:spcPct val="20000"/>
              </a:spcBef>
              <a:buFontTx/>
              <a:buAutoNum type="arabicPeriod"/>
              <a:tabLst>
                <a:tab pos="85725" algn="l"/>
              </a:tabLst>
            </a:pPr>
            <a:endParaRPr lang="en-GB" sz="100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14CBD47-3A9E-4B44-B9F5-E917168F06E9}" type="slidenum">
              <a:rPr lang="en-AU" smtClean="0"/>
              <a:pPr/>
              <a:t>36</a:t>
            </a:fld>
            <a:endParaRPr lang="en-AU" smtClean="0"/>
          </a:p>
        </p:txBody>
      </p:sp>
      <p:sp>
        <p:nvSpPr>
          <p:cNvPr id="27651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791571A4-81DF-4A99-A244-077DE71014AB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7652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2765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653" name="think-cell Slide" r:id="rId6" imgW="0" imgH="0" progId="">
              <p:embed/>
            </p:oleObj>
          </a:graphicData>
        </a:graphic>
      </p:graphicFrame>
      <p:sp>
        <p:nvSpPr>
          <p:cNvPr id="2765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AU" smtClean="0"/>
              <a:t>Agenda</a:t>
            </a:r>
          </a:p>
        </p:txBody>
      </p:sp>
      <p:graphicFrame>
        <p:nvGraphicFramePr>
          <p:cNvPr id="6376452" name="Group 4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36538" y="1125538"/>
          <a:ext cx="9350375" cy="1997408"/>
        </p:xfrm>
        <a:graphic>
          <a:graphicData uri="http://schemas.openxmlformats.org/drawingml/2006/table">
            <a:tbl>
              <a:tblPr/>
              <a:tblGrid>
                <a:gridCol w="9350375"/>
              </a:tblGrid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tion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ecutive Summary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ue Proposition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act Analysi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ncial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ning and Next Step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ck-Up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FBD0B55-DA88-40D4-922E-EB3F58BA25B8}" type="slidenum">
              <a:rPr lang="en-AU" smtClean="0"/>
              <a:pPr/>
              <a:t>37</a:t>
            </a:fld>
            <a:endParaRPr lang="en-AU" smtClean="0"/>
          </a:p>
        </p:txBody>
      </p:sp>
      <p:sp>
        <p:nvSpPr>
          <p:cNvPr id="28675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C697D6E4-8B9D-41E9-8BDF-96D876A132F0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8676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sp>
        <p:nvSpPr>
          <p:cNvPr id="28784" name="Content Placeholder 23"/>
          <p:cNvSpPr txBox="1">
            <a:spLocks/>
          </p:cNvSpPr>
          <p:nvPr/>
        </p:nvSpPr>
        <p:spPr bwMode="auto">
          <a:xfrm>
            <a:off x="6557242" y="980216"/>
            <a:ext cx="3059113" cy="5245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rIns="0"/>
          <a:lstStyle/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Penetration Assumptions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Total: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Home Page: 3 available slots taken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Results page (heading national or heading zone): penetration limited by inventory of targeting combinations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Product repartition</a:t>
            </a:r>
            <a:r>
              <a:rPr lang="en-GB" dirty="0" smtClean="0">
                <a:solidFill>
                  <a:srgbClr val="4D4D4D"/>
                </a:solidFill>
                <a:cs typeface="Arial" charset="0"/>
              </a:rPr>
              <a:t>: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Home Page: inventory limited to 3 slots 	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In results page, heading zone will be favoured over heading national (65/ 35)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Time split – 1 month/ 3 month/ 1 year campaigns: 30/ 30/ 40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b="1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ARPA Assumptions: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 smtClean="0">
                <a:solidFill>
                  <a:srgbClr val="4D4D4D"/>
                </a:solidFill>
              </a:rPr>
              <a:t>ARPA reflects </a:t>
            </a:r>
            <a:r>
              <a:rPr lang="en-GB" dirty="0" err="1" smtClean="0">
                <a:solidFill>
                  <a:srgbClr val="4D4D4D"/>
                </a:solidFill>
              </a:rPr>
              <a:t>ratecard</a:t>
            </a:r>
            <a:r>
              <a:rPr lang="en-GB" dirty="0" smtClean="0">
                <a:solidFill>
                  <a:srgbClr val="4D4D4D"/>
                </a:solidFill>
              </a:rPr>
              <a:t> applied to assumptions above</a:t>
            </a:r>
            <a:endParaRPr lang="en-GB" dirty="0">
              <a:solidFill>
                <a:srgbClr val="4D4D4D"/>
              </a:solidFill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Price </a:t>
            </a:r>
            <a:r>
              <a:rPr lang="en-GB" dirty="0" smtClean="0">
                <a:solidFill>
                  <a:srgbClr val="4D4D4D"/>
                </a:solidFill>
                <a:cs typeface="Arial" charset="0"/>
              </a:rPr>
              <a:t>increase of 10% in 2012 and 5% in 2013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Launch Assumptions: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r>
              <a:rPr lang="en-GB" dirty="0" smtClean="0">
                <a:solidFill>
                  <a:srgbClr val="4D4D4D"/>
                </a:solidFill>
              </a:rPr>
              <a:t>September 1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8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</p:txBody>
      </p:sp>
      <p:sp>
        <p:nvSpPr>
          <p:cNvPr id="2878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Detailed forecast, Belgium</a:t>
            </a:r>
            <a:endParaRPr lang="en-AU" sz="2400" dirty="0">
              <a:solidFill>
                <a:schemeClr val="tx2"/>
              </a:solidFill>
            </a:endParaRPr>
          </a:p>
        </p:txBody>
      </p:sp>
      <p:pic>
        <p:nvPicPr>
          <p:cNvPr id="28786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87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600">
                <a:solidFill>
                  <a:schemeClr val="bg1"/>
                </a:solidFill>
              </a:rPr>
              <a:t>Virtual Paper</a:t>
            </a:r>
            <a:endParaRPr lang="en-AU" sz="1600">
              <a:solidFill>
                <a:schemeClr val="bg1"/>
              </a:solidFill>
            </a:endParaRPr>
          </a:p>
        </p:txBody>
      </p:sp>
      <p:pic>
        <p:nvPicPr>
          <p:cNvPr id="28790" name="Picture 44" descr="toprightbubbl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/>
          <a:srcRect t="38245" r="18710"/>
          <a:stretch>
            <a:fillRect/>
          </a:stretch>
        </p:blipFill>
        <p:spPr bwMode="auto">
          <a:xfrm>
            <a:off x="8374063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91" name="Text Box 4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8213" y="0"/>
            <a:ext cx="1312862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460974" y="1014703"/>
          <a:ext cx="5690445" cy="5219835"/>
        </p:xfrm>
        <a:graphic>
          <a:graphicData uri="http://schemas.openxmlformats.org/drawingml/2006/table">
            <a:tbl>
              <a:tblPr/>
              <a:tblGrid>
                <a:gridCol w="2959032"/>
                <a:gridCol w="910471"/>
                <a:gridCol w="910471"/>
                <a:gridCol w="910471"/>
              </a:tblGrid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BELGIUM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1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2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3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Mobile Customers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6.339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5.80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60.45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182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ome Pag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5328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1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1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0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6.48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7.128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7.48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9.44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1.38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0.72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182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National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5328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35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6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1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4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.969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62.55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71.93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182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Zon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5328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64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1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6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8.533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77.44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89.06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182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1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52.94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161.38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 dirty="0">
                          <a:solidFill>
                            <a:srgbClr val="616065"/>
                          </a:solidFill>
                          <a:latin typeface="Arial"/>
                        </a:rPr>
                        <a:t>181.723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6AC2541-4A86-4DB5-8D73-1D1CCCEA3837}" type="slidenum">
              <a:rPr lang="en-AU" smtClean="0"/>
              <a:pPr/>
              <a:t>38</a:t>
            </a:fld>
            <a:endParaRPr lang="en-AU" smtClean="0"/>
          </a:p>
        </p:txBody>
      </p:sp>
      <p:sp>
        <p:nvSpPr>
          <p:cNvPr id="29699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5055023F-E22F-43ED-8DEB-D34CF0DBBBC4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29700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sp>
        <p:nvSpPr>
          <p:cNvPr id="29701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Detailed forecast, Ireland</a:t>
            </a:r>
            <a:endParaRPr lang="en-AU" sz="2400" dirty="0">
              <a:solidFill>
                <a:schemeClr val="tx2"/>
              </a:solidFill>
            </a:endParaRPr>
          </a:p>
        </p:txBody>
      </p:sp>
      <p:pic>
        <p:nvPicPr>
          <p:cNvPr id="29702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3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600">
                <a:solidFill>
                  <a:schemeClr val="bg1"/>
                </a:solidFill>
              </a:rPr>
              <a:t>Virtual Paper</a:t>
            </a:r>
            <a:endParaRPr lang="en-AU" sz="1600">
              <a:solidFill>
                <a:schemeClr val="bg1"/>
              </a:solidFill>
            </a:endParaRPr>
          </a:p>
        </p:txBody>
      </p:sp>
      <p:pic>
        <p:nvPicPr>
          <p:cNvPr id="29814" name="Picture 44" descr="toprightbubbl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/>
          <a:srcRect t="38245" r="18710"/>
          <a:stretch>
            <a:fillRect/>
          </a:stretch>
        </p:blipFill>
        <p:spPr bwMode="auto">
          <a:xfrm>
            <a:off x="8375650" y="3175"/>
            <a:ext cx="1547813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815" name="Text Box 4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9800" y="0"/>
            <a:ext cx="131286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353612" y="968518"/>
          <a:ext cx="5760860" cy="5395336"/>
        </p:xfrm>
        <a:graphic>
          <a:graphicData uri="http://schemas.openxmlformats.org/drawingml/2006/table">
            <a:tbl>
              <a:tblPr/>
              <a:tblGrid>
                <a:gridCol w="2805287"/>
                <a:gridCol w="985191"/>
                <a:gridCol w="985191"/>
                <a:gridCol w="985191"/>
              </a:tblGrid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IRELAND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1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2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3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Mobile Customers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.50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8.32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8.32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417"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ome Pag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852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5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4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4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.42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.94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6.237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4.27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7.82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8.711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417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National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852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3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6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1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4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.989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9.327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0.72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417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Zon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852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61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1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6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.701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1.547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3.28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417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6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10.96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38.69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 dirty="0">
                          <a:solidFill>
                            <a:srgbClr val="616065"/>
                          </a:solidFill>
                          <a:latin typeface="Arial"/>
                        </a:rPr>
                        <a:t>42.71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</a:tr>
            </a:tbl>
          </a:graphicData>
        </a:graphic>
      </p:graphicFrame>
      <p:sp>
        <p:nvSpPr>
          <p:cNvPr id="16" name="Content Placeholder 23"/>
          <p:cNvSpPr txBox="1">
            <a:spLocks/>
          </p:cNvSpPr>
          <p:nvPr/>
        </p:nvSpPr>
        <p:spPr bwMode="auto">
          <a:xfrm>
            <a:off x="6557242" y="980216"/>
            <a:ext cx="3059113" cy="5245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rIns="0"/>
          <a:lstStyle/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Penetration Assumptions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Total: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Home Page: 3 available slots taken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Results page (heading national or heading zone): penetration limited by inventory of targeting combinations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Product repartition</a:t>
            </a:r>
            <a:r>
              <a:rPr lang="en-GB" dirty="0" smtClean="0">
                <a:solidFill>
                  <a:srgbClr val="4D4D4D"/>
                </a:solidFill>
                <a:cs typeface="Arial" charset="0"/>
              </a:rPr>
              <a:t>: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Home Page: inventory limited to 3 slots 	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In results page, heading zone will be favoured over heading national (65/ 35)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Time split – 1 month/ 3 month/ 1 year campaigns: 30/ 30/ 40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b="1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ARPA Assumptions: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</a:rPr>
              <a:t>ARPA reflects </a:t>
            </a:r>
            <a:r>
              <a:rPr lang="en-GB" dirty="0" err="1" smtClean="0">
                <a:solidFill>
                  <a:srgbClr val="4D4D4D"/>
                </a:solidFill>
              </a:rPr>
              <a:t>ratecard</a:t>
            </a:r>
            <a:r>
              <a:rPr lang="en-GB" dirty="0" smtClean="0">
                <a:solidFill>
                  <a:srgbClr val="4D4D4D"/>
                </a:solidFill>
              </a:rPr>
              <a:t> applied to assumptions above</a:t>
            </a:r>
            <a:endParaRPr lang="en-GB" dirty="0">
              <a:solidFill>
                <a:srgbClr val="4D4D4D"/>
              </a:solidFill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Price </a:t>
            </a:r>
            <a:r>
              <a:rPr lang="en-GB" dirty="0" smtClean="0">
                <a:solidFill>
                  <a:srgbClr val="4D4D4D"/>
                </a:solidFill>
                <a:cs typeface="Arial" charset="0"/>
              </a:rPr>
              <a:t>increase of 10% in 2012 and 5% in 2013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Launch Assumptions: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</a:rPr>
              <a:t>September 1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DB0574A-05E7-4211-A5C6-E751C78A2689}" type="slidenum">
              <a:rPr lang="en-AU" smtClean="0"/>
              <a:pPr/>
              <a:t>39</a:t>
            </a:fld>
            <a:endParaRPr lang="en-AU" smtClean="0"/>
          </a:p>
        </p:txBody>
      </p:sp>
      <p:sp>
        <p:nvSpPr>
          <p:cNvPr id="30723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1D4A1A52-4913-4079-88D9-71E3AF58F482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0724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sp>
        <p:nvSpPr>
          <p:cNvPr id="3072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Detailed forecast, Portugal</a:t>
            </a:r>
            <a:endParaRPr lang="en-AU" sz="2400" dirty="0">
              <a:solidFill>
                <a:schemeClr val="tx2"/>
              </a:solidFill>
            </a:endParaRPr>
          </a:p>
        </p:txBody>
      </p:sp>
      <p:pic>
        <p:nvPicPr>
          <p:cNvPr id="30726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7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600">
                <a:solidFill>
                  <a:schemeClr val="bg1"/>
                </a:solidFill>
              </a:rPr>
              <a:t>Virtual Paper</a:t>
            </a:r>
            <a:endParaRPr lang="en-AU" sz="1600">
              <a:solidFill>
                <a:schemeClr val="bg1"/>
              </a:solidFill>
            </a:endParaRPr>
          </a:p>
        </p:txBody>
      </p:sp>
      <p:pic>
        <p:nvPicPr>
          <p:cNvPr id="30838" name="Picture 44" descr="toprightbubbl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/>
          <a:srcRect t="38245" r="18710"/>
          <a:stretch>
            <a:fillRect/>
          </a:stretch>
        </p:blipFill>
        <p:spPr bwMode="auto">
          <a:xfrm>
            <a:off x="8375650" y="3175"/>
            <a:ext cx="1547813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39" name="Text Box 4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9800" y="0"/>
            <a:ext cx="131286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369087" y="1051645"/>
          <a:ext cx="5717678" cy="5312209"/>
        </p:xfrm>
        <a:graphic>
          <a:graphicData uri="http://schemas.openxmlformats.org/drawingml/2006/table">
            <a:tbl>
              <a:tblPr/>
              <a:tblGrid>
                <a:gridCol w="2925323"/>
                <a:gridCol w="930785"/>
                <a:gridCol w="930785"/>
                <a:gridCol w="930785"/>
              </a:tblGrid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PORTUGAL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1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2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2013</a:t>
                      </a:r>
                      <a:endParaRPr lang="en-US" sz="1400" b="0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Mobile Customers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8.567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7.80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7.17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990"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ome Pag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130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2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1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1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.24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.56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.74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9.72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0.69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1.417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9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National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130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34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23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9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33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.261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7.54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66.17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9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Zon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130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64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1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6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3.00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2.463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60.333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99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794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36.98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120.699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 dirty="0">
                          <a:solidFill>
                            <a:srgbClr val="616065"/>
                          </a:solidFill>
                          <a:latin typeface="Arial"/>
                        </a:rPr>
                        <a:t>137.92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</a:tr>
            </a:tbl>
          </a:graphicData>
        </a:graphic>
      </p:graphicFrame>
      <p:sp>
        <p:nvSpPr>
          <p:cNvPr id="15" name="Content Placeholder 23"/>
          <p:cNvSpPr txBox="1">
            <a:spLocks/>
          </p:cNvSpPr>
          <p:nvPr/>
        </p:nvSpPr>
        <p:spPr bwMode="auto">
          <a:xfrm>
            <a:off x="6557242" y="980216"/>
            <a:ext cx="3059113" cy="5245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rIns="0"/>
          <a:lstStyle/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Penetration Assumptions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Total: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Home Page: 3 available slots taken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Results page (heading national or heading zone): penetration limited by inventory of targeting combinations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Product repartition</a:t>
            </a:r>
            <a:r>
              <a:rPr lang="en-GB" dirty="0" smtClean="0">
                <a:solidFill>
                  <a:srgbClr val="4D4D4D"/>
                </a:solidFill>
                <a:cs typeface="Arial" charset="0"/>
              </a:rPr>
              <a:t>: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Home Page: inventory limited to 3 slots 	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In results page, heading zone will be favoured over heading national (65/ 35)</a:t>
            </a:r>
          </a:p>
          <a:p>
            <a:pPr marL="744538" lvl="1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Time split – 1 month/ 3 month/ 1 year campaigns: 10/ 30/ 60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b="1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ARPA Assumptions: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</a:rPr>
              <a:t>ARPA reflects </a:t>
            </a:r>
            <a:r>
              <a:rPr lang="en-GB" dirty="0" err="1" smtClean="0">
                <a:solidFill>
                  <a:srgbClr val="4D4D4D"/>
                </a:solidFill>
              </a:rPr>
              <a:t>ratecard</a:t>
            </a:r>
            <a:r>
              <a:rPr lang="en-GB" dirty="0" smtClean="0">
                <a:solidFill>
                  <a:srgbClr val="4D4D4D"/>
                </a:solidFill>
              </a:rPr>
              <a:t> applied to assumptions above</a:t>
            </a:r>
            <a:endParaRPr lang="en-GB" dirty="0">
              <a:solidFill>
                <a:srgbClr val="4D4D4D"/>
              </a:solidFill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>
                <a:solidFill>
                  <a:srgbClr val="4D4D4D"/>
                </a:solidFill>
                <a:cs typeface="Arial" charset="0"/>
              </a:rPr>
              <a:t>Price </a:t>
            </a:r>
            <a:r>
              <a:rPr lang="en-GB" dirty="0" smtClean="0">
                <a:solidFill>
                  <a:srgbClr val="4D4D4D"/>
                </a:solidFill>
                <a:cs typeface="Arial" charset="0"/>
              </a:rPr>
              <a:t>increase of 10% in 2012 and 5% in 2013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Launch Assumptions: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r>
              <a:rPr lang="en-GB" dirty="0" smtClean="0">
                <a:solidFill>
                  <a:srgbClr val="4D4D4D"/>
                </a:solidFill>
              </a:rPr>
              <a:t>September 1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10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A91827B-0F04-47E2-AA9C-9EA3E386FFA9}" type="slidenum">
              <a:rPr lang="en-AU" smtClean="0"/>
              <a:pPr/>
              <a:t>4</a:t>
            </a:fld>
            <a:endParaRPr lang="en-AU" smtClean="0"/>
          </a:p>
        </p:txBody>
      </p:sp>
      <p:sp>
        <p:nvSpPr>
          <p:cNvPr id="7171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FB82E899-099E-426C-BDE4-872231F9C956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7172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717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3" name="think-cell Slide" r:id="rId6" imgW="0" imgH="0" progId="">
              <p:embed/>
            </p:oleObj>
          </a:graphicData>
        </a:graphic>
      </p:graphicFrame>
      <p:sp>
        <p:nvSpPr>
          <p:cNvPr id="717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AU" smtClean="0"/>
              <a:t>Agenda</a:t>
            </a:r>
          </a:p>
        </p:txBody>
      </p:sp>
      <p:graphicFrame>
        <p:nvGraphicFramePr>
          <p:cNvPr id="6351876" name="Group 4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36538" y="1125538"/>
          <a:ext cx="9350375" cy="1997408"/>
        </p:xfrm>
        <a:graphic>
          <a:graphicData uri="http://schemas.openxmlformats.org/drawingml/2006/table">
            <a:tbl>
              <a:tblPr/>
              <a:tblGrid>
                <a:gridCol w="9350375"/>
              </a:tblGrid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tion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ecutive Summary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ue Proposition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act Analysi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ncial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ning and Next Step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ck-Up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7E30324E-F909-4E99-9050-05D15E511846}" type="slidenum">
              <a:rPr lang="en-AU" smtClean="0"/>
              <a:pPr/>
              <a:t>40</a:t>
            </a:fld>
            <a:endParaRPr lang="en-AU" smtClean="0"/>
          </a:p>
        </p:txBody>
      </p:sp>
      <p:sp>
        <p:nvSpPr>
          <p:cNvPr id="31747" name="Date Placeholder 2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5EC8EE33-6D04-4CAB-AB42-9D8B99B18E3D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1748" name="Footer Placeholder 3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sp>
        <p:nvSpPr>
          <p:cNvPr id="31749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Detailed forecast, all markets</a:t>
            </a:r>
            <a:endParaRPr lang="en-AU" sz="2400" dirty="0">
              <a:solidFill>
                <a:schemeClr val="tx2"/>
              </a:solidFill>
            </a:endParaRPr>
          </a:p>
        </p:txBody>
      </p:sp>
      <p:pic>
        <p:nvPicPr>
          <p:cNvPr id="31750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51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860" name="Content Placeholder 23"/>
          <p:cNvSpPr txBox="1">
            <a:spLocks/>
          </p:cNvSpPr>
          <p:nvPr/>
        </p:nvSpPr>
        <p:spPr bwMode="auto">
          <a:xfrm>
            <a:off x="6584950" y="1155700"/>
            <a:ext cx="2498725" cy="5245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rIns="0"/>
          <a:lstStyle/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 smtClean="0">
                <a:solidFill>
                  <a:srgbClr val="4D4D4D"/>
                </a:solidFill>
                <a:cs typeface="Arial" charset="0"/>
              </a:rPr>
              <a:t>Assumptions &amp; Comments</a:t>
            </a:r>
            <a:endParaRPr lang="en-GB" b="1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Total penetration is limited by available inventory dictated by targeting combinations from pay per inclusion model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endParaRPr lang="en-GB" dirty="0" smtClean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Volume is expected to increase though, through increased penetration in Year 2 and enhanced mobile adoption generally speaking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endParaRPr lang="en-GB" dirty="0" smtClean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r>
              <a:rPr lang="en-GB" dirty="0" smtClean="0">
                <a:solidFill>
                  <a:srgbClr val="4D4D4D"/>
                </a:solidFill>
                <a:cs typeface="Arial" charset="0"/>
              </a:rPr>
              <a:t>Growth is also enabled through price increases in Year 2 and 3, following expected traffic growth, and corresponding impact on volume of impressions</a:t>
            </a: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r>
              <a:rPr lang="en-GB" b="1" dirty="0">
                <a:solidFill>
                  <a:srgbClr val="4D4D4D"/>
                </a:solidFill>
                <a:cs typeface="Arial" charset="0"/>
              </a:rPr>
              <a:t>Launch </a:t>
            </a:r>
            <a:r>
              <a:rPr lang="en-GB" b="1" dirty="0" smtClean="0">
                <a:solidFill>
                  <a:srgbClr val="4D4D4D"/>
                </a:solidFill>
                <a:cs typeface="Arial" charset="0"/>
              </a:rPr>
              <a:t>Assumptions:</a:t>
            </a:r>
            <a:endParaRPr lang="en-GB" b="1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r>
              <a:rPr lang="en-GB" dirty="0" smtClean="0">
                <a:solidFill>
                  <a:srgbClr val="4D4D4D"/>
                </a:solidFill>
              </a:rPr>
              <a:t>September 1</a:t>
            </a: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  <a:buFontTx/>
              <a:buBlip>
                <a:blip r:embed="rId7"/>
              </a:buBlip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  <a:p>
            <a:pPr marL="287338" indent="-287338" algn="l" eaLnBrk="1" hangingPunct="1">
              <a:spcBef>
                <a:spcPct val="10000"/>
              </a:spcBef>
              <a:buSzPct val="70000"/>
            </a:pPr>
            <a:endParaRPr lang="en-GB" dirty="0">
              <a:solidFill>
                <a:srgbClr val="4D4D4D"/>
              </a:solidFill>
              <a:cs typeface="Arial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190881" y="996230"/>
          <a:ext cx="6052900" cy="5349157"/>
        </p:xfrm>
        <a:graphic>
          <a:graphicData uri="http://schemas.openxmlformats.org/drawingml/2006/table">
            <a:tbl>
              <a:tblPr/>
              <a:tblGrid>
                <a:gridCol w="2351488"/>
                <a:gridCol w="1233804"/>
                <a:gridCol w="1233804"/>
                <a:gridCol w="1233804"/>
              </a:tblGrid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ALL MARKETS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011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01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Mobile Customers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0.40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01.92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05.94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513"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ome Pag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451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2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1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01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.71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.54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.65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3.43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49.89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50.85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513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National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451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34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53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8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4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268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2.219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29.42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8.83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513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Heading + Zone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A00"/>
                    </a:solidFill>
                  </a:tcPr>
                </a:tc>
              </a:tr>
              <a:tr h="46451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penetration on addressable marke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64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0,98%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Expected ARPA (€ per year)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1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2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57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35.23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41.456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162.67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513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b="0" i="0" u="none" strike="noStrike">
                          <a:solidFill>
                            <a:srgbClr val="4D4D4D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TOTAL ORDER INPUT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100.890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>
                          <a:solidFill>
                            <a:srgbClr val="616065"/>
                          </a:solidFill>
                          <a:latin typeface="Arial"/>
                        </a:rPr>
                        <a:t>320.775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i="0" u="none" strike="noStrike" dirty="0">
                          <a:solidFill>
                            <a:srgbClr val="616065"/>
                          </a:solidFill>
                          <a:latin typeface="Arial"/>
                        </a:rPr>
                        <a:t>362.364</a:t>
                      </a:r>
                    </a:p>
                  </a:txBody>
                  <a:tcPr marL="6703" marR="6703" marT="6703" marB="0">
                    <a:lnL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160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9A3E54B-EB2D-4735-A0A9-B66BFE96440C}" type="slidenum">
              <a:rPr lang="en-AU" smtClean="0"/>
              <a:pPr/>
              <a:t>41</a:t>
            </a:fld>
            <a:endParaRPr lang="en-AU" smtClean="0"/>
          </a:p>
        </p:txBody>
      </p:sp>
      <p:sp>
        <p:nvSpPr>
          <p:cNvPr id="32771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F37002A1-DCF6-4493-822E-4AB32F232144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2772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sp>
        <p:nvSpPr>
          <p:cNvPr id="32773" name="AutoShape 2"/>
          <p:cNvSpPr>
            <a:spLocks noChangeArrowheads="1"/>
          </p:cNvSpPr>
          <p:nvPr/>
        </p:nvSpPr>
        <p:spPr bwMode="gray">
          <a:xfrm>
            <a:off x="238125" y="1144588"/>
            <a:ext cx="4673600" cy="5310187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endParaRPr lang="en-GB"/>
          </a:p>
        </p:txBody>
      </p:sp>
      <p:graphicFrame>
        <p:nvGraphicFramePr>
          <p:cNvPr id="32774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74" name="think-cell Slide" r:id="rId7" imgW="0" imgH="0" progId="">
              <p:embed/>
            </p:oleObj>
          </a:graphicData>
        </a:graphic>
      </p:graphicFrame>
      <p:sp>
        <p:nvSpPr>
          <p:cNvPr id="32775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GB" b="1" dirty="0" smtClean="0"/>
              <a:t>In-App Advertising</a:t>
            </a:r>
            <a:br>
              <a:rPr lang="en-GB" b="1" dirty="0" smtClean="0"/>
            </a:br>
            <a:r>
              <a:rPr lang="en-GB" dirty="0" smtClean="0"/>
              <a:t>Revenue forecast</a:t>
            </a:r>
            <a:endParaRPr lang="en-AU" dirty="0" smtClean="0"/>
          </a:p>
        </p:txBody>
      </p:sp>
      <p:pic>
        <p:nvPicPr>
          <p:cNvPr id="32776" name="Picture 44" descr="toprightbubbl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7" name="Text Box 4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2778" name="AutoShape 8"/>
          <p:cNvSpPr>
            <a:spLocks noChangeArrowheads="1"/>
          </p:cNvSpPr>
          <p:nvPr/>
        </p:nvSpPr>
        <p:spPr bwMode="gray">
          <a:xfrm>
            <a:off x="238125" y="1123950"/>
            <a:ext cx="4673600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/>
              <a:t>Incremental revenues, </a:t>
            </a:r>
            <a:r>
              <a:rPr lang="en-GB" sz="1400" b="1"/>
              <a:t>total group</a:t>
            </a:r>
          </a:p>
        </p:txBody>
      </p:sp>
      <p:graphicFrame>
        <p:nvGraphicFramePr>
          <p:cNvPr id="32779" name="Object 15"/>
          <p:cNvGraphicFramePr>
            <a:graphicFrameLocks noGrp="1" noChangeAspect="1"/>
          </p:cNvGraphicFramePr>
          <p:nvPr>
            <p:ph idx="1"/>
          </p:nvPr>
        </p:nvGraphicFramePr>
        <p:xfrm>
          <a:off x="363538" y="1768475"/>
          <a:ext cx="4346575" cy="4346575"/>
        </p:xfrm>
        <a:graphic>
          <a:graphicData uri="http://schemas.openxmlformats.org/presentationml/2006/ole">
            <p:oleObj spid="_x0000_s32779" name="Worksheet" r:id="rId9" imgW="4633296" imgH="4633296" progId="Excel.Sheet.8">
              <p:embed/>
            </p:oleObj>
          </a:graphicData>
        </a:graphic>
      </p:graphicFrame>
      <p:sp>
        <p:nvSpPr>
          <p:cNvPr id="32780" name="AutoShape 2"/>
          <p:cNvSpPr>
            <a:spLocks noChangeArrowheads="1"/>
          </p:cNvSpPr>
          <p:nvPr/>
        </p:nvSpPr>
        <p:spPr bwMode="gray">
          <a:xfrm>
            <a:off x="4975225" y="1139825"/>
            <a:ext cx="4673600" cy="5310188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endParaRPr lang="en-GB"/>
          </a:p>
        </p:txBody>
      </p:sp>
      <p:sp>
        <p:nvSpPr>
          <p:cNvPr id="32781" name="AutoShape 8"/>
          <p:cNvSpPr>
            <a:spLocks noChangeArrowheads="1"/>
          </p:cNvSpPr>
          <p:nvPr/>
        </p:nvSpPr>
        <p:spPr bwMode="gray">
          <a:xfrm>
            <a:off x="4975225" y="1119188"/>
            <a:ext cx="4673600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/>
              <a:t>Incremental margins (excl. Investments/CSC), </a:t>
            </a:r>
            <a:r>
              <a:rPr lang="en-GB" b="1"/>
              <a:t>total group</a:t>
            </a:r>
          </a:p>
        </p:txBody>
      </p:sp>
      <p:graphicFrame>
        <p:nvGraphicFramePr>
          <p:cNvPr id="32782" name="Object 19"/>
          <p:cNvGraphicFramePr>
            <a:graphicFrameLocks noGrp="1" noChangeAspect="1"/>
          </p:cNvGraphicFramePr>
          <p:nvPr/>
        </p:nvGraphicFramePr>
        <p:xfrm>
          <a:off x="5100638" y="1587500"/>
          <a:ext cx="4557712" cy="4804064"/>
        </p:xfrm>
        <a:graphic>
          <a:graphicData uri="http://schemas.openxmlformats.org/presentationml/2006/ole">
            <p:oleObj spid="_x0000_s32782" name="Worksheet" r:id="rId10" imgW="4558420" imgH="4722142" progId="Excel.Sheet.8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4990DEE-006E-4588-8723-093E1A52219A}" type="slidenum">
              <a:rPr lang="en-AU" smtClean="0"/>
              <a:pPr/>
              <a:t>42</a:t>
            </a:fld>
            <a:endParaRPr lang="en-AU" smtClean="0"/>
          </a:p>
        </p:txBody>
      </p:sp>
      <p:sp>
        <p:nvSpPr>
          <p:cNvPr id="33795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36C8633E-0E5A-4B9A-93E0-C6C570F821DE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3796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sp>
        <p:nvSpPr>
          <p:cNvPr id="33797" name="AutoShape 2"/>
          <p:cNvSpPr>
            <a:spLocks noChangeArrowheads="1"/>
          </p:cNvSpPr>
          <p:nvPr/>
        </p:nvSpPr>
        <p:spPr bwMode="gray">
          <a:xfrm>
            <a:off x="238125" y="1144588"/>
            <a:ext cx="4673600" cy="5310187"/>
          </a:xfrm>
          <a:prstGeom prst="roundRect">
            <a:avLst>
              <a:gd name="adj" fmla="val 1639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endParaRPr lang="en-GB"/>
          </a:p>
        </p:txBody>
      </p:sp>
      <p:graphicFrame>
        <p:nvGraphicFramePr>
          <p:cNvPr id="33798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798" name="think-cell Slide" r:id="rId14" imgW="0" imgH="0" progId="">
              <p:embed/>
            </p:oleObj>
          </a:graphicData>
        </a:graphic>
      </p:graphicFrame>
      <p:sp>
        <p:nvSpPr>
          <p:cNvPr id="33799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GB" b="1" dirty="0" smtClean="0"/>
              <a:t>In-App Advertising</a:t>
            </a:r>
            <a:br>
              <a:rPr lang="en-GB" b="1" dirty="0" smtClean="0"/>
            </a:br>
            <a:r>
              <a:rPr lang="en-GB" dirty="0" smtClean="0"/>
              <a:t>Margin and Free Cash Flow forecast</a:t>
            </a:r>
            <a:endParaRPr lang="en-AU" dirty="0" smtClean="0"/>
          </a:p>
        </p:txBody>
      </p:sp>
      <p:pic>
        <p:nvPicPr>
          <p:cNvPr id="33800" name="Picture 44" descr="toprightbubbl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801" name="Text Box 4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802" name="AutoShape 8"/>
          <p:cNvSpPr>
            <a:spLocks noChangeArrowheads="1"/>
          </p:cNvSpPr>
          <p:nvPr/>
        </p:nvSpPr>
        <p:spPr bwMode="gray">
          <a:xfrm>
            <a:off x="238125" y="1123950"/>
            <a:ext cx="4673600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/>
              <a:t>Incremental margin, </a:t>
            </a:r>
            <a:r>
              <a:rPr lang="en-GB" sz="1400" b="1"/>
              <a:t>total group*</a:t>
            </a:r>
          </a:p>
        </p:txBody>
      </p:sp>
      <p:sp>
        <p:nvSpPr>
          <p:cNvPr id="33803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97450" y="1123950"/>
            <a:ext cx="4638675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 b="1"/>
              <a:t>Key assumptions</a:t>
            </a:r>
          </a:p>
        </p:txBody>
      </p:sp>
      <p:sp>
        <p:nvSpPr>
          <p:cNvPr id="33804" name="AutoShap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08563" y="1828800"/>
            <a:ext cx="4627562" cy="1309688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sz="1100" dirty="0"/>
              <a:t>Key assumptions</a:t>
            </a:r>
          </a:p>
          <a:p>
            <a:pPr marL="177800" indent="-177800" algn="l" defTabSz="869950">
              <a:buFontTx/>
              <a:buChar char="•"/>
            </a:pPr>
            <a:r>
              <a:rPr lang="en-GB" sz="1100" dirty="0" smtClean="0"/>
              <a:t>Ad server set-up: € 20K</a:t>
            </a:r>
          </a:p>
          <a:p>
            <a:pPr marL="177800" indent="-177800" algn="l" defTabSz="869950">
              <a:buFontTx/>
              <a:buChar char="•"/>
            </a:pPr>
            <a:r>
              <a:rPr lang="en-GB" sz="1100" dirty="0" smtClean="0"/>
              <a:t>Inventory management tool: € 20k</a:t>
            </a:r>
            <a:endParaRPr lang="en-GB" sz="1100" dirty="0"/>
          </a:p>
          <a:p>
            <a:pPr marL="177800" indent="-177800" algn="l" defTabSz="869950">
              <a:buFontTx/>
              <a:buChar char="•"/>
            </a:pPr>
            <a:endParaRPr lang="en-GB" sz="1100" dirty="0"/>
          </a:p>
          <a:p>
            <a:pPr marL="177800" indent="-177800" algn="l" defTabSz="869950"/>
            <a:endParaRPr lang="en-GB" sz="1100" dirty="0"/>
          </a:p>
        </p:txBody>
      </p:sp>
      <p:sp>
        <p:nvSpPr>
          <p:cNvPr id="33805" name="AutoShap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008563" y="1506538"/>
            <a:ext cx="4627562" cy="280987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/>
              <a:t>Product related investment</a:t>
            </a:r>
          </a:p>
        </p:txBody>
      </p:sp>
      <p:sp>
        <p:nvSpPr>
          <p:cNvPr id="33806" name="AutoShap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008563" y="3173413"/>
            <a:ext cx="4627562" cy="280987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/>
              <a:t>Cost of Goods Sold (COGS)</a:t>
            </a:r>
          </a:p>
        </p:txBody>
      </p:sp>
      <p:sp>
        <p:nvSpPr>
          <p:cNvPr id="33807" name="AutoShap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008563" y="3482975"/>
            <a:ext cx="4627562" cy="1309688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sz="1100" dirty="0"/>
              <a:t>Key assumptions</a:t>
            </a:r>
          </a:p>
          <a:p>
            <a:pPr marL="177800" indent="-177800" algn="l" defTabSz="869950">
              <a:buFontTx/>
              <a:buChar char="•"/>
            </a:pPr>
            <a:r>
              <a:rPr lang="en-GB" sz="1100" dirty="0" smtClean="0"/>
              <a:t>Cost of impressions sold: €0,10 CPM house banners</a:t>
            </a:r>
          </a:p>
          <a:p>
            <a:pPr marL="177800" indent="-177800" algn="l" defTabSz="869950">
              <a:buFontTx/>
              <a:buChar char="•"/>
            </a:pPr>
            <a:r>
              <a:rPr lang="en-GB" sz="1100" dirty="0" smtClean="0"/>
              <a:t>Creativity: costs negligible</a:t>
            </a:r>
            <a:endParaRPr lang="en-GB" sz="1100" dirty="0"/>
          </a:p>
        </p:txBody>
      </p:sp>
      <p:sp>
        <p:nvSpPr>
          <p:cNvPr id="33808" name="AutoShape 1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008563" y="4835525"/>
            <a:ext cx="4627562" cy="280988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/>
              <a:t>Cost of Sales / Service (COS)</a:t>
            </a:r>
          </a:p>
        </p:txBody>
      </p:sp>
      <p:sp>
        <p:nvSpPr>
          <p:cNvPr id="33809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008563" y="5145088"/>
            <a:ext cx="4627562" cy="1309687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sz="1100" dirty="0"/>
              <a:t>Key assumptions</a:t>
            </a:r>
          </a:p>
          <a:p>
            <a:pPr marL="177800" indent="-177800" algn="l" defTabSz="869950">
              <a:buFont typeface="Arial" charset="0"/>
              <a:buChar char="•"/>
            </a:pPr>
            <a:r>
              <a:rPr lang="en-GB" sz="1100" dirty="0"/>
              <a:t>Incremental sales commission 8% on OI </a:t>
            </a:r>
          </a:p>
          <a:p>
            <a:pPr marL="177800" indent="-177800" algn="l" defTabSz="869950">
              <a:buFont typeface="Arial" charset="0"/>
              <a:buChar char="•"/>
            </a:pPr>
            <a:endParaRPr lang="en-GB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409575" y="6135688"/>
            <a:ext cx="4175125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>
              <a:defRPr/>
            </a:pPr>
            <a:r>
              <a:rPr lang="nl-BE" sz="1050" i="1" dirty="0"/>
              <a:t>* Excluding cumulated CSC of 131K€</a:t>
            </a:r>
            <a:endParaRPr lang="en-US" sz="1050" i="1" dirty="0"/>
          </a:p>
        </p:txBody>
      </p:sp>
      <p:graphicFrame>
        <p:nvGraphicFramePr>
          <p:cNvPr id="21" name="Chart 20"/>
          <p:cNvGraphicFramePr/>
          <p:nvPr/>
        </p:nvGraphicFramePr>
        <p:xfrm>
          <a:off x="447757" y="1653310"/>
          <a:ext cx="4068825" cy="4147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DB8D127D-B250-4C75-8481-60CBB445BDDB}" type="slidenum">
              <a:rPr lang="en-AU" smtClean="0"/>
              <a:pPr/>
              <a:t>43</a:t>
            </a:fld>
            <a:endParaRPr lang="en-AU" smtClean="0"/>
          </a:p>
        </p:txBody>
      </p:sp>
      <p:sp>
        <p:nvSpPr>
          <p:cNvPr id="34819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D04D38EB-5702-4C81-9AF0-F6F7815CCFAF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4820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34821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21" name="think-cell Slide" r:id="rId6" imgW="0" imgH="0" progId="">
              <p:embed/>
            </p:oleObj>
          </a:graphicData>
        </a:graphic>
      </p:graphicFrame>
      <p:sp>
        <p:nvSpPr>
          <p:cNvPr id="34822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AU" smtClean="0"/>
              <a:t>Agenda</a:t>
            </a:r>
          </a:p>
        </p:txBody>
      </p:sp>
      <p:graphicFrame>
        <p:nvGraphicFramePr>
          <p:cNvPr id="6390788" name="Group 4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36538" y="1125538"/>
          <a:ext cx="9350375" cy="1997408"/>
        </p:xfrm>
        <a:graphic>
          <a:graphicData uri="http://schemas.openxmlformats.org/drawingml/2006/table">
            <a:tbl>
              <a:tblPr/>
              <a:tblGrid>
                <a:gridCol w="9350375"/>
              </a:tblGrid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tion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ecutive Summary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ue Proposition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act Analysi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ncial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ning and Next Step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ck-Up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6539C14-03D5-48AE-8205-1585CC01B150}" type="slidenum">
              <a:rPr lang="en-AU" smtClean="0"/>
              <a:pPr/>
              <a:t>44</a:t>
            </a:fld>
            <a:endParaRPr lang="en-AU" smtClean="0"/>
          </a:p>
        </p:txBody>
      </p:sp>
      <p:sp>
        <p:nvSpPr>
          <p:cNvPr id="35843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36FD37C2-6373-43F4-BF0D-1A872831E0E6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5844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35845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845" name="think-cell Slide" r:id="rId6" imgW="0" imgH="0" progId="">
              <p:embed/>
            </p:oleObj>
          </a:graphicData>
        </a:graphic>
      </p:graphicFrame>
      <p:graphicFrame>
        <p:nvGraphicFramePr>
          <p:cNvPr id="6392835" name="Group 3"/>
          <p:cNvGraphicFramePr>
            <a:graphicFrameLocks noGrp="1"/>
          </p:cNvGraphicFramePr>
          <p:nvPr>
            <p:ph idx="1"/>
          </p:nvPr>
        </p:nvGraphicFramePr>
        <p:xfrm>
          <a:off x="250825" y="1116013"/>
          <a:ext cx="9385300" cy="4810125"/>
        </p:xfrm>
        <a:graphic>
          <a:graphicData uri="http://schemas.openxmlformats.org/drawingml/2006/table">
            <a:tbl>
              <a:tblPr/>
              <a:tblGrid>
                <a:gridCol w="1555750"/>
                <a:gridCol w="92392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  <a:gridCol w="460375"/>
              </a:tblGrid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2009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2010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Product / Enabler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Owner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Nov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Dec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Jan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Feb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Mar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Apr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May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Jun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Jul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Aug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Sep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Oct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Nov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Dec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Jan</a:t>
                      </a: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72000" marB="72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</a:tbl>
          </a:graphicData>
        </a:graphic>
      </p:graphicFrame>
      <p:sp>
        <p:nvSpPr>
          <p:cNvPr id="36123" name="Rectangle 280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 b="1" dirty="0" smtClean="0"/>
              <a:t>In-App Advertising</a:t>
            </a:r>
            <a:br>
              <a:rPr lang="en-GB" b="1" dirty="0" smtClean="0"/>
            </a:br>
            <a:r>
              <a:rPr lang="en-GB" dirty="0" smtClean="0"/>
              <a:t>High level project plan</a:t>
            </a:r>
          </a:p>
        </p:txBody>
      </p:sp>
      <p:sp>
        <p:nvSpPr>
          <p:cNvPr id="36124" name="Rectangle 282"/>
          <p:cNvSpPr>
            <a:spLocks noChangeArrowheads="1"/>
          </p:cNvSpPr>
          <p:nvPr/>
        </p:nvSpPr>
        <p:spPr bwMode="gray">
          <a:xfrm>
            <a:off x="6613525" y="4826000"/>
            <a:ext cx="2978150" cy="14827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endParaRPr lang="en-GB"/>
          </a:p>
        </p:txBody>
      </p:sp>
      <p:sp>
        <p:nvSpPr>
          <p:cNvPr id="36125" name="Text Box 283"/>
          <p:cNvSpPr txBox="1">
            <a:spLocks noChangeArrowheads="1"/>
          </p:cNvSpPr>
          <p:nvPr/>
        </p:nvSpPr>
        <p:spPr bwMode="gray">
          <a:xfrm>
            <a:off x="6727825" y="4711700"/>
            <a:ext cx="527050" cy="244475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1000"/>
              <a:t>Legend</a:t>
            </a:r>
          </a:p>
        </p:txBody>
      </p:sp>
      <p:sp>
        <p:nvSpPr>
          <p:cNvPr id="36126" name="AutoShape 284"/>
          <p:cNvSpPr>
            <a:spLocks noChangeArrowheads="1"/>
          </p:cNvSpPr>
          <p:nvPr/>
        </p:nvSpPr>
        <p:spPr bwMode="auto">
          <a:xfrm>
            <a:off x="6721475" y="5002213"/>
            <a:ext cx="177800" cy="177800"/>
          </a:xfrm>
          <a:prstGeom prst="diamond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prstDash val="sysDot"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eaLnBrk="1" hangingPunct="1">
              <a:spcBef>
                <a:spcPct val="50000"/>
              </a:spcBef>
            </a:pPr>
            <a:endParaRPr lang="en-GB" sz="1400"/>
          </a:p>
        </p:txBody>
      </p:sp>
      <p:sp>
        <p:nvSpPr>
          <p:cNvPr id="36127" name="AutoShape 285"/>
          <p:cNvSpPr>
            <a:spLocks noChangeArrowheads="1"/>
          </p:cNvSpPr>
          <p:nvPr/>
        </p:nvSpPr>
        <p:spPr bwMode="auto">
          <a:xfrm>
            <a:off x="6696075" y="5216525"/>
            <a:ext cx="228600" cy="228600"/>
          </a:xfrm>
          <a:prstGeom prst="diamond">
            <a:avLst/>
          </a:prstGeom>
          <a:solidFill>
            <a:schemeClr val="tx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128" name="AutoShape 286"/>
          <p:cNvSpPr>
            <a:spLocks noChangeArrowheads="1"/>
          </p:cNvSpPr>
          <p:nvPr/>
        </p:nvSpPr>
        <p:spPr bwMode="auto">
          <a:xfrm>
            <a:off x="6696075" y="5481638"/>
            <a:ext cx="228600" cy="228600"/>
          </a:xfrm>
          <a:prstGeom prst="diamond">
            <a:avLst/>
          </a:prstGeom>
          <a:solidFill>
            <a:schemeClr val="tx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6129" name="AutoShape 287"/>
          <p:cNvSpPr>
            <a:spLocks noChangeArrowheads="1"/>
          </p:cNvSpPr>
          <p:nvPr/>
        </p:nvSpPr>
        <p:spPr bwMode="auto">
          <a:xfrm>
            <a:off x="6696075" y="5746750"/>
            <a:ext cx="228600" cy="228600"/>
          </a:xfrm>
          <a:prstGeom prst="diamond">
            <a:avLst/>
          </a:prstGeom>
          <a:solidFill>
            <a:schemeClr val="tx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130" name="AutoShape 288"/>
          <p:cNvSpPr>
            <a:spLocks noChangeArrowheads="1"/>
          </p:cNvSpPr>
          <p:nvPr/>
        </p:nvSpPr>
        <p:spPr bwMode="auto">
          <a:xfrm>
            <a:off x="6696075" y="6011863"/>
            <a:ext cx="228600" cy="228600"/>
          </a:xfrm>
          <a:prstGeom prst="diamond">
            <a:avLst/>
          </a:prstGeom>
          <a:solidFill>
            <a:schemeClr val="accent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/>
              <a:t>L</a:t>
            </a:r>
          </a:p>
        </p:txBody>
      </p:sp>
      <p:sp>
        <p:nvSpPr>
          <p:cNvPr id="36131" name="Text Box 289"/>
          <p:cNvSpPr txBox="1">
            <a:spLocks noChangeArrowheads="1"/>
          </p:cNvSpPr>
          <p:nvPr/>
        </p:nvSpPr>
        <p:spPr bwMode="gray">
          <a:xfrm>
            <a:off x="6962775" y="4968875"/>
            <a:ext cx="252095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 b="1"/>
              <a:t>GC</a:t>
            </a:r>
            <a:r>
              <a:rPr lang="en-GB" sz="1000"/>
              <a:t>: Approval to start concept development</a:t>
            </a:r>
          </a:p>
        </p:txBody>
      </p:sp>
      <p:sp>
        <p:nvSpPr>
          <p:cNvPr id="36132" name="Text Box 290"/>
          <p:cNvSpPr txBox="1">
            <a:spLocks noChangeArrowheads="1"/>
          </p:cNvSpPr>
          <p:nvPr/>
        </p:nvSpPr>
        <p:spPr bwMode="gray">
          <a:xfrm>
            <a:off x="6962775" y="5227638"/>
            <a:ext cx="2509838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 b="1"/>
              <a:t>TLT</a:t>
            </a:r>
            <a:r>
              <a:rPr lang="en-GB" sz="1000"/>
              <a:t>: TG1, approval to start Business Case</a:t>
            </a:r>
          </a:p>
        </p:txBody>
      </p:sp>
      <p:sp>
        <p:nvSpPr>
          <p:cNvPr id="36133" name="Text Box 291"/>
          <p:cNvSpPr txBox="1">
            <a:spLocks noChangeArrowheads="1"/>
          </p:cNvSpPr>
          <p:nvPr/>
        </p:nvSpPr>
        <p:spPr bwMode="gray">
          <a:xfrm>
            <a:off x="6962775" y="5486400"/>
            <a:ext cx="2524125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 b="1"/>
              <a:t>TLT</a:t>
            </a:r>
            <a:r>
              <a:rPr lang="en-GB" sz="1000"/>
              <a:t>: TG2, approval to start implementation</a:t>
            </a:r>
          </a:p>
        </p:txBody>
      </p:sp>
      <p:sp>
        <p:nvSpPr>
          <p:cNvPr id="36134" name="Text Box 292"/>
          <p:cNvSpPr txBox="1">
            <a:spLocks noChangeArrowheads="1"/>
          </p:cNvSpPr>
          <p:nvPr/>
        </p:nvSpPr>
        <p:spPr bwMode="gray">
          <a:xfrm>
            <a:off x="6962775" y="5745163"/>
            <a:ext cx="2484438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 b="1"/>
              <a:t>TLT</a:t>
            </a:r>
            <a:r>
              <a:rPr lang="en-GB" sz="1000"/>
              <a:t>: TG3, approval for commercial launch</a:t>
            </a:r>
          </a:p>
        </p:txBody>
      </p:sp>
      <p:sp>
        <p:nvSpPr>
          <p:cNvPr id="36135" name="Text Box 293"/>
          <p:cNvSpPr txBox="1">
            <a:spLocks noChangeArrowheads="1"/>
          </p:cNvSpPr>
          <p:nvPr/>
        </p:nvSpPr>
        <p:spPr bwMode="gray">
          <a:xfrm>
            <a:off x="6962775" y="6005513"/>
            <a:ext cx="1192213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algn="l" defTabSz="869950"/>
            <a:r>
              <a:rPr lang="en-GB" sz="1000"/>
              <a:t>Commercial launch</a:t>
            </a:r>
          </a:p>
        </p:txBody>
      </p:sp>
      <p:sp>
        <p:nvSpPr>
          <p:cNvPr id="36136" name="Rectangle 295"/>
          <p:cNvSpPr>
            <a:spLocks noChangeArrowheads="1"/>
          </p:cNvSpPr>
          <p:nvPr/>
        </p:nvSpPr>
        <p:spPr bwMode="gray">
          <a:xfrm>
            <a:off x="306388" y="3433763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37" name="Rectangle 296"/>
          <p:cNvSpPr>
            <a:spLocks noChangeArrowheads="1"/>
          </p:cNvSpPr>
          <p:nvPr/>
        </p:nvSpPr>
        <p:spPr bwMode="gray">
          <a:xfrm>
            <a:off x="1844675" y="3433763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38" name="Rectangle 298"/>
          <p:cNvSpPr>
            <a:spLocks noChangeArrowheads="1"/>
          </p:cNvSpPr>
          <p:nvPr/>
        </p:nvSpPr>
        <p:spPr bwMode="gray">
          <a:xfrm>
            <a:off x="3927475" y="2443163"/>
            <a:ext cx="1162050" cy="215900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700" b="1">
                <a:cs typeface="Arial" charset="0"/>
              </a:rPr>
              <a:t>BC</a:t>
            </a:r>
          </a:p>
        </p:txBody>
      </p:sp>
      <p:sp>
        <p:nvSpPr>
          <p:cNvPr id="36139" name="AutoShape 299"/>
          <p:cNvSpPr>
            <a:spLocks noChangeArrowheads="1"/>
          </p:cNvSpPr>
          <p:nvPr/>
        </p:nvSpPr>
        <p:spPr bwMode="auto">
          <a:xfrm>
            <a:off x="4975225" y="2447925"/>
            <a:ext cx="228600" cy="228600"/>
          </a:xfrm>
          <a:prstGeom prst="diamond">
            <a:avLst/>
          </a:prstGeom>
          <a:solidFill>
            <a:schemeClr val="tx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6140" name="Rectangle 300"/>
          <p:cNvSpPr>
            <a:spLocks noChangeArrowheads="1"/>
          </p:cNvSpPr>
          <p:nvPr/>
        </p:nvSpPr>
        <p:spPr bwMode="gray">
          <a:xfrm>
            <a:off x="306388" y="2470150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Business Case</a:t>
            </a:r>
          </a:p>
        </p:txBody>
      </p:sp>
      <p:sp>
        <p:nvSpPr>
          <p:cNvPr id="36141" name="Rectangle 301"/>
          <p:cNvSpPr>
            <a:spLocks noChangeArrowheads="1"/>
          </p:cNvSpPr>
          <p:nvPr/>
        </p:nvSpPr>
        <p:spPr bwMode="gray">
          <a:xfrm>
            <a:off x="1844675" y="2470150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PM]</a:t>
            </a:r>
          </a:p>
        </p:txBody>
      </p:sp>
      <p:sp>
        <p:nvSpPr>
          <p:cNvPr id="36142" name="Rectangle 303"/>
          <p:cNvSpPr>
            <a:spLocks noChangeArrowheads="1"/>
          </p:cNvSpPr>
          <p:nvPr/>
        </p:nvSpPr>
        <p:spPr bwMode="gray">
          <a:xfrm>
            <a:off x="306388" y="2151063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Concept Development</a:t>
            </a:r>
          </a:p>
        </p:txBody>
      </p:sp>
      <p:sp>
        <p:nvSpPr>
          <p:cNvPr id="36143" name="Rectangle 304"/>
          <p:cNvSpPr>
            <a:spLocks noChangeArrowheads="1"/>
          </p:cNvSpPr>
          <p:nvPr/>
        </p:nvSpPr>
        <p:spPr bwMode="gray">
          <a:xfrm>
            <a:off x="1844675" y="2151063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PM]</a:t>
            </a:r>
          </a:p>
        </p:txBody>
      </p:sp>
      <p:sp>
        <p:nvSpPr>
          <p:cNvPr id="36144" name="Rectangle 305"/>
          <p:cNvSpPr>
            <a:spLocks noChangeArrowheads="1"/>
          </p:cNvSpPr>
          <p:nvPr/>
        </p:nvSpPr>
        <p:spPr bwMode="gray">
          <a:xfrm>
            <a:off x="3278188" y="2125663"/>
            <a:ext cx="593725" cy="234950"/>
          </a:xfrm>
          <a:prstGeom prst="rect">
            <a:avLst/>
          </a:prstGeom>
          <a:solidFill>
            <a:srgbClr val="FFCC00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700">
                <a:cs typeface="Arial" charset="0"/>
              </a:rPr>
              <a:t>Concept </a:t>
            </a:r>
          </a:p>
        </p:txBody>
      </p:sp>
      <p:sp>
        <p:nvSpPr>
          <p:cNvPr id="36145" name="AutoShape 306"/>
          <p:cNvSpPr>
            <a:spLocks noChangeArrowheads="1"/>
          </p:cNvSpPr>
          <p:nvPr/>
        </p:nvSpPr>
        <p:spPr bwMode="auto">
          <a:xfrm>
            <a:off x="3783013" y="2128838"/>
            <a:ext cx="228600" cy="228600"/>
          </a:xfrm>
          <a:prstGeom prst="diamond">
            <a:avLst/>
          </a:prstGeom>
          <a:solidFill>
            <a:schemeClr val="tx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6146" name="Rectangle 308"/>
          <p:cNvSpPr>
            <a:spLocks noChangeArrowheads="1"/>
          </p:cNvSpPr>
          <p:nvPr/>
        </p:nvSpPr>
        <p:spPr bwMode="gray">
          <a:xfrm>
            <a:off x="306388" y="2786063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Implementation</a:t>
            </a:r>
          </a:p>
        </p:txBody>
      </p:sp>
      <p:sp>
        <p:nvSpPr>
          <p:cNvPr id="36147" name="Rectangle 309"/>
          <p:cNvSpPr>
            <a:spLocks noChangeArrowheads="1"/>
          </p:cNvSpPr>
          <p:nvPr/>
        </p:nvSpPr>
        <p:spPr bwMode="gray">
          <a:xfrm>
            <a:off x="1844675" y="2786063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PM]</a:t>
            </a:r>
          </a:p>
        </p:txBody>
      </p:sp>
      <p:sp>
        <p:nvSpPr>
          <p:cNvPr id="36148" name="Rectangle 310"/>
          <p:cNvSpPr>
            <a:spLocks noChangeArrowheads="1"/>
          </p:cNvSpPr>
          <p:nvPr/>
        </p:nvSpPr>
        <p:spPr bwMode="gray">
          <a:xfrm>
            <a:off x="5137150" y="2760663"/>
            <a:ext cx="1712913" cy="234950"/>
          </a:xfrm>
          <a:prstGeom prst="rect">
            <a:avLst/>
          </a:prstGeom>
          <a:solidFill>
            <a:schemeClr val="tx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700" b="1">
                <a:solidFill>
                  <a:schemeClr val="bg1"/>
                </a:solidFill>
                <a:cs typeface="Arial" charset="0"/>
              </a:rPr>
              <a:t>Implementation</a:t>
            </a:r>
          </a:p>
        </p:txBody>
      </p:sp>
      <p:sp>
        <p:nvSpPr>
          <p:cNvPr id="36149" name="AutoShape 311"/>
          <p:cNvSpPr>
            <a:spLocks noChangeArrowheads="1"/>
          </p:cNvSpPr>
          <p:nvPr/>
        </p:nvSpPr>
        <p:spPr bwMode="auto">
          <a:xfrm>
            <a:off x="6777038" y="2763838"/>
            <a:ext cx="228600" cy="228600"/>
          </a:xfrm>
          <a:prstGeom prst="diamond">
            <a:avLst/>
          </a:prstGeom>
          <a:solidFill>
            <a:schemeClr val="tx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6150" name="Rectangle 313"/>
          <p:cNvSpPr>
            <a:spLocks noChangeArrowheads="1"/>
          </p:cNvSpPr>
          <p:nvPr/>
        </p:nvSpPr>
        <p:spPr bwMode="gray">
          <a:xfrm>
            <a:off x="306388" y="3111500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Commercial Launch</a:t>
            </a:r>
          </a:p>
        </p:txBody>
      </p:sp>
      <p:sp>
        <p:nvSpPr>
          <p:cNvPr id="36151" name="Rectangle 314"/>
          <p:cNvSpPr>
            <a:spLocks noChangeArrowheads="1"/>
          </p:cNvSpPr>
          <p:nvPr/>
        </p:nvSpPr>
        <p:spPr bwMode="gray">
          <a:xfrm>
            <a:off x="1844675" y="3111500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PM]</a:t>
            </a:r>
          </a:p>
        </p:txBody>
      </p:sp>
      <p:sp>
        <p:nvSpPr>
          <p:cNvPr id="18744" name="AutoShape 315"/>
          <p:cNvSpPr>
            <a:spLocks noChangeArrowheads="1"/>
          </p:cNvSpPr>
          <p:nvPr/>
        </p:nvSpPr>
        <p:spPr bwMode="auto">
          <a:xfrm>
            <a:off x="6750050" y="3089275"/>
            <a:ext cx="228600" cy="228600"/>
          </a:xfrm>
          <a:prstGeom prst="diamond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  <a:defRPr/>
            </a:pPr>
            <a:r>
              <a:rPr lang="en-GB" sz="600" b="1" dirty="0"/>
              <a:t>L</a:t>
            </a:r>
            <a:r>
              <a:rPr lang="en-GB" sz="800" b="1" dirty="0"/>
              <a:t> </a:t>
            </a:r>
            <a:r>
              <a:rPr lang="en-GB" sz="600" b="1" dirty="0"/>
              <a:t>BE</a:t>
            </a:r>
            <a:endParaRPr lang="en-GB" sz="800" b="1" dirty="0"/>
          </a:p>
        </p:txBody>
      </p:sp>
      <p:sp>
        <p:nvSpPr>
          <p:cNvPr id="36153" name="Rectangle 317"/>
          <p:cNvSpPr>
            <a:spLocks noChangeArrowheads="1"/>
          </p:cNvSpPr>
          <p:nvPr/>
        </p:nvSpPr>
        <p:spPr bwMode="gray">
          <a:xfrm>
            <a:off x="306388" y="1824038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Idea Generation</a:t>
            </a:r>
          </a:p>
        </p:txBody>
      </p:sp>
      <p:sp>
        <p:nvSpPr>
          <p:cNvPr id="36154" name="Rectangle 318"/>
          <p:cNvSpPr>
            <a:spLocks noChangeArrowheads="1"/>
          </p:cNvSpPr>
          <p:nvPr/>
        </p:nvSpPr>
        <p:spPr bwMode="gray">
          <a:xfrm>
            <a:off x="1844675" y="1824038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PM]</a:t>
            </a:r>
          </a:p>
        </p:txBody>
      </p:sp>
      <p:sp>
        <p:nvSpPr>
          <p:cNvPr id="36155" name="Rectangle 319"/>
          <p:cNvSpPr>
            <a:spLocks noChangeArrowheads="1"/>
          </p:cNvSpPr>
          <p:nvPr/>
        </p:nvSpPr>
        <p:spPr bwMode="gray">
          <a:xfrm>
            <a:off x="2719388" y="1798638"/>
            <a:ext cx="525462" cy="234950"/>
          </a:xfrm>
          <a:prstGeom prst="rect">
            <a:avLst/>
          </a:prstGeom>
          <a:solidFill>
            <a:srgbClr val="FFCC00"/>
          </a:solidFill>
          <a:ln w="12700" algn="ctr">
            <a:solidFill>
              <a:srgbClr val="80808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700">
                <a:cs typeface="Arial" charset="0"/>
              </a:rPr>
              <a:t>Idea</a:t>
            </a:r>
          </a:p>
        </p:txBody>
      </p:sp>
      <p:sp>
        <p:nvSpPr>
          <p:cNvPr id="36156" name="AutoShape 320"/>
          <p:cNvSpPr>
            <a:spLocks noChangeArrowheads="1"/>
          </p:cNvSpPr>
          <p:nvPr/>
        </p:nvSpPr>
        <p:spPr bwMode="auto">
          <a:xfrm>
            <a:off x="3184525" y="1827213"/>
            <a:ext cx="177800" cy="177800"/>
          </a:xfrm>
          <a:prstGeom prst="diamond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prstDash val="sysDot"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eaLnBrk="1" hangingPunct="1">
              <a:spcBef>
                <a:spcPct val="50000"/>
              </a:spcBef>
            </a:pPr>
            <a:endParaRPr lang="en-GB" sz="1400"/>
          </a:p>
        </p:txBody>
      </p:sp>
      <p:sp>
        <p:nvSpPr>
          <p:cNvPr id="36157" name="Freeform 321"/>
          <p:cNvSpPr>
            <a:spLocks/>
          </p:cNvSpPr>
          <p:nvPr/>
        </p:nvSpPr>
        <p:spPr bwMode="auto">
          <a:xfrm>
            <a:off x="3213100" y="1797050"/>
            <a:ext cx="180975" cy="171450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66FF33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6158" name="Rectangle 323"/>
          <p:cNvSpPr>
            <a:spLocks noChangeArrowheads="1"/>
          </p:cNvSpPr>
          <p:nvPr/>
        </p:nvSpPr>
        <p:spPr bwMode="gray">
          <a:xfrm>
            <a:off x="306388" y="3752850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59" name="Rectangle 324"/>
          <p:cNvSpPr>
            <a:spLocks noChangeArrowheads="1"/>
          </p:cNvSpPr>
          <p:nvPr/>
        </p:nvSpPr>
        <p:spPr bwMode="gray">
          <a:xfrm>
            <a:off x="1844675" y="3752850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60" name="Rectangle 326"/>
          <p:cNvSpPr>
            <a:spLocks noChangeArrowheads="1"/>
          </p:cNvSpPr>
          <p:nvPr/>
        </p:nvSpPr>
        <p:spPr bwMode="gray">
          <a:xfrm>
            <a:off x="306388" y="4071938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61" name="Rectangle 327"/>
          <p:cNvSpPr>
            <a:spLocks noChangeArrowheads="1"/>
          </p:cNvSpPr>
          <p:nvPr/>
        </p:nvSpPr>
        <p:spPr bwMode="gray">
          <a:xfrm>
            <a:off x="1844675" y="4071938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62" name="Rectangle 329"/>
          <p:cNvSpPr>
            <a:spLocks noChangeArrowheads="1"/>
          </p:cNvSpPr>
          <p:nvPr/>
        </p:nvSpPr>
        <p:spPr bwMode="gray">
          <a:xfrm>
            <a:off x="306388" y="4391025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63" name="Rectangle 330"/>
          <p:cNvSpPr>
            <a:spLocks noChangeArrowheads="1"/>
          </p:cNvSpPr>
          <p:nvPr/>
        </p:nvSpPr>
        <p:spPr bwMode="gray">
          <a:xfrm>
            <a:off x="1844675" y="4391025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64" name="Rectangle 332"/>
          <p:cNvSpPr>
            <a:spLocks noChangeArrowheads="1"/>
          </p:cNvSpPr>
          <p:nvPr/>
        </p:nvSpPr>
        <p:spPr bwMode="gray">
          <a:xfrm>
            <a:off x="306388" y="4711700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65" name="Rectangle 333"/>
          <p:cNvSpPr>
            <a:spLocks noChangeArrowheads="1"/>
          </p:cNvSpPr>
          <p:nvPr/>
        </p:nvSpPr>
        <p:spPr bwMode="gray">
          <a:xfrm>
            <a:off x="1844675" y="4711700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66" name="Rectangle 335"/>
          <p:cNvSpPr>
            <a:spLocks noChangeArrowheads="1"/>
          </p:cNvSpPr>
          <p:nvPr/>
        </p:nvSpPr>
        <p:spPr bwMode="gray">
          <a:xfrm>
            <a:off x="306388" y="5030788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67" name="Rectangle 336"/>
          <p:cNvSpPr>
            <a:spLocks noChangeArrowheads="1"/>
          </p:cNvSpPr>
          <p:nvPr/>
        </p:nvSpPr>
        <p:spPr bwMode="gray">
          <a:xfrm>
            <a:off x="1844675" y="5030788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68" name="Rectangle 338"/>
          <p:cNvSpPr>
            <a:spLocks noChangeArrowheads="1"/>
          </p:cNvSpPr>
          <p:nvPr/>
        </p:nvSpPr>
        <p:spPr bwMode="gray">
          <a:xfrm>
            <a:off x="306388" y="5349875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69" name="Rectangle 339"/>
          <p:cNvSpPr>
            <a:spLocks noChangeArrowheads="1"/>
          </p:cNvSpPr>
          <p:nvPr/>
        </p:nvSpPr>
        <p:spPr bwMode="gray">
          <a:xfrm>
            <a:off x="1844675" y="5349875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70" name="Rectangle 341"/>
          <p:cNvSpPr>
            <a:spLocks noChangeArrowheads="1"/>
          </p:cNvSpPr>
          <p:nvPr/>
        </p:nvSpPr>
        <p:spPr bwMode="gray">
          <a:xfrm>
            <a:off x="306388" y="5670550"/>
            <a:ext cx="148590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other activities]</a:t>
            </a:r>
          </a:p>
        </p:txBody>
      </p:sp>
      <p:sp>
        <p:nvSpPr>
          <p:cNvPr id="36171" name="Rectangle 342"/>
          <p:cNvSpPr>
            <a:spLocks noChangeArrowheads="1"/>
          </p:cNvSpPr>
          <p:nvPr/>
        </p:nvSpPr>
        <p:spPr bwMode="gray">
          <a:xfrm>
            <a:off x="1844675" y="5670550"/>
            <a:ext cx="844550" cy="184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900">
                <a:cs typeface="Arial" charset="0"/>
              </a:rPr>
              <a:t>[name owner]</a:t>
            </a:r>
          </a:p>
        </p:txBody>
      </p:sp>
      <p:sp>
        <p:nvSpPr>
          <p:cNvPr id="36172" name="Line 344"/>
          <p:cNvSpPr>
            <a:spLocks noChangeShapeType="1"/>
          </p:cNvSpPr>
          <p:nvPr/>
        </p:nvSpPr>
        <p:spPr bwMode="auto">
          <a:xfrm>
            <a:off x="5043488" y="1181100"/>
            <a:ext cx="0" cy="5008563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</p:spPr>
        <p:txBody>
          <a:bodyPr lIns="90000" tIns="0" rIns="90000" bIns="0" anchor="ctr"/>
          <a:lstStyle/>
          <a:p>
            <a:endParaRPr lang="en-US"/>
          </a:p>
        </p:txBody>
      </p:sp>
      <p:sp>
        <p:nvSpPr>
          <p:cNvPr id="36173" name="AutoShape 345"/>
          <p:cNvSpPr>
            <a:spLocks noChangeArrowheads="1"/>
          </p:cNvSpPr>
          <p:nvPr/>
        </p:nvSpPr>
        <p:spPr bwMode="auto">
          <a:xfrm>
            <a:off x="4835525" y="6000750"/>
            <a:ext cx="536575" cy="244475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12700" algn="ctr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1000" b="1">
                <a:solidFill>
                  <a:schemeClr val="bg1"/>
                </a:solidFill>
              </a:rPr>
              <a:t>today</a:t>
            </a:r>
          </a:p>
        </p:txBody>
      </p:sp>
      <p:pic>
        <p:nvPicPr>
          <p:cNvPr id="36174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175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6176" name="AutoShape 315"/>
          <p:cNvSpPr>
            <a:spLocks noChangeArrowheads="1"/>
          </p:cNvSpPr>
          <p:nvPr/>
        </p:nvSpPr>
        <p:spPr bwMode="auto">
          <a:xfrm>
            <a:off x="7683500" y="3109913"/>
            <a:ext cx="228600" cy="228600"/>
          </a:xfrm>
          <a:prstGeom prst="diamond">
            <a:avLst/>
          </a:prstGeom>
          <a:solidFill>
            <a:schemeClr val="accent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spcBef>
                <a:spcPct val="50000"/>
              </a:spcBef>
            </a:pPr>
            <a:r>
              <a:rPr lang="en-GB" sz="800" b="1"/>
              <a:t>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F97FA8C-B322-4D50-9E3A-430334F166CA}" type="slidenum">
              <a:rPr lang="en-AU" smtClean="0"/>
              <a:pPr/>
              <a:t>45</a:t>
            </a:fld>
            <a:endParaRPr lang="en-AU" smtClean="0"/>
          </a:p>
        </p:txBody>
      </p:sp>
      <p:sp>
        <p:nvSpPr>
          <p:cNvPr id="36867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C466407E-CF02-4319-BBCA-3E93A6A2B2F2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6868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3686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69" name="think-cell Slide" r:id="rId7" imgW="0" imgH="0" progId="">
              <p:embed/>
            </p:oleObj>
          </a:graphicData>
        </a:graphic>
      </p:graphicFrame>
      <p:pic>
        <p:nvPicPr>
          <p:cNvPr id="36870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71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graphicFrame>
        <p:nvGraphicFramePr>
          <p:cNvPr id="6394886" name="Group 6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38125" y="1133475"/>
          <a:ext cx="9398000" cy="4096048"/>
        </p:xfrm>
        <a:graphic>
          <a:graphicData uri="http://schemas.openxmlformats.org/drawingml/2006/table">
            <a:tbl>
              <a:tblPr/>
              <a:tblGrid>
                <a:gridCol w="2763838"/>
                <a:gridCol w="2451100"/>
                <a:gridCol w="717550"/>
                <a:gridCol w="3465512"/>
              </a:tblGrid>
              <a:tr h="2555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ole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vailable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ments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duct Manager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ert Van Steen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0%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ject Manager / TPM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erations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]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e impact analysis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T / AS400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[name]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e impact analysis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T / Selligent, SCM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[name]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e impact analysis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T / Truvo Lounge, reporting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[name]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e impact analysis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ew Media / Yellow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[name]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e impact analysis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ew Media / MySite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[name]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e impact analysis</a:t>
                      </a: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2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5997" marB="3599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6949" name="Rectangle 83"/>
          <p:cNvSpPr>
            <a:spLocks noChangeArrowheads="1"/>
          </p:cNvSpPr>
          <p:nvPr/>
        </p:nvSpPr>
        <p:spPr bwMode="auto">
          <a:xfrm>
            <a:off x="2606675" y="6083300"/>
            <a:ext cx="5400675" cy="6397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eaLnBrk="1" hangingPunct="1">
              <a:spcBef>
                <a:spcPct val="50000"/>
              </a:spcBef>
            </a:pPr>
            <a:endParaRPr lang="en-GB" sz="1400"/>
          </a:p>
        </p:txBody>
      </p:sp>
      <p:sp>
        <p:nvSpPr>
          <p:cNvPr id="36950" name="Rectangle 84"/>
          <p:cNvSpPr>
            <a:spLocks noChangeArrowheads="1"/>
          </p:cNvSpPr>
          <p:nvPr/>
        </p:nvSpPr>
        <p:spPr bwMode="auto">
          <a:xfrm>
            <a:off x="3125788" y="6172200"/>
            <a:ext cx="1276350" cy="544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</a:rPr>
              <a:t>Available</a:t>
            </a:r>
          </a:p>
        </p:txBody>
      </p:sp>
      <p:sp>
        <p:nvSpPr>
          <p:cNvPr id="36951" name="Text Box 85"/>
          <p:cNvSpPr txBox="1">
            <a:spLocks noChangeArrowheads="1"/>
          </p:cNvSpPr>
          <p:nvPr/>
        </p:nvSpPr>
        <p:spPr bwMode="auto">
          <a:xfrm>
            <a:off x="2641600" y="5997575"/>
            <a:ext cx="600075" cy="1524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0" rIns="9000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GB" sz="1000"/>
              <a:t>Legend</a:t>
            </a:r>
          </a:p>
        </p:txBody>
      </p:sp>
      <p:sp>
        <p:nvSpPr>
          <p:cNvPr id="36952" name="Rectangle 86"/>
          <p:cNvSpPr>
            <a:spLocks noChangeArrowheads="1"/>
          </p:cNvSpPr>
          <p:nvPr/>
        </p:nvSpPr>
        <p:spPr bwMode="auto">
          <a:xfrm>
            <a:off x="4681538" y="6172200"/>
            <a:ext cx="1389062" cy="544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</a:rPr>
              <a:t>Not available </a:t>
            </a:r>
          </a:p>
        </p:txBody>
      </p:sp>
      <p:sp>
        <p:nvSpPr>
          <p:cNvPr id="36953" name="Text Box 87"/>
          <p:cNvSpPr txBox="1">
            <a:spLocks noChangeArrowheads="1"/>
          </p:cNvSpPr>
          <p:nvPr/>
        </p:nvSpPr>
        <p:spPr bwMode="gray">
          <a:xfrm>
            <a:off x="2795588" y="6216650"/>
            <a:ext cx="379412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2400">
                <a:solidFill>
                  <a:srgbClr val="4D4D4D"/>
                </a:solidFill>
                <a:sym typeface="Wingdings 2" pitchFamily="18" charset="2"/>
              </a:rPr>
              <a:t></a:t>
            </a:r>
          </a:p>
        </p:txBody>
      </p:sp>
      <p:sp>
        <p:nvSpPr>
          <p:cNvPr id="36954" name="Text Box 88"/>
          <p:cNvSpPr txBox="1">
            <a:spLocks noChangeArrowheads="1"/>
          </p:cNvSpPr>
          <p:nvPr/>
        </p:nvSpPr>
        <p:spPr bwMode="gray">
          <a:xfrm>
            <a:off x="4357688" y="6216650"/>
            <a:ext cx="379412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2400">
                <a:solidFill>
                  <a:srgbClr val="FF0000"/>
                </a:solidFill>
                <a:sym typeface="Wingdings 2" pitchFamily="18" charset="2"/>
              </a:rPr>
              <a:t></a:t>
            </a:r>
          </a:p>
        </p:txBody>
      </p:sp>
      <p:sp>
        <p:nvSpPr>
          <p:cNvPr id="36955" name="Text Box 89"/>
          <p:cNvSpPr txBox="1">
            <a:spLocks noChangeArrowheads="1"/>
          </p:cNvSpPr>
          <p:nvPr/>
        </p:nvSpPr>
        <p:spPr bwMode="gray">
          <a:xfrm>
            <a:off x="5840413" y="6216650"/>
            <a:ext cx="379412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2400">
                <a:solidFill>
                  <a:schemeClr val="tx2"/>
                </a:solidFill>
                <a:sym typeface="Wingdings 2" pitchFamily="18" charset="2"/>
              </a:rPr>
              <a:t></a:t>
            </a:r>
          </a:p>
        </p:txBody>
      </p:sp>
      <p:sp>
        <p:nvSpPr>
          <p:cNvPr id="36956" name="Rectangle 90"/>
          <p:cNvSpPr>
            <a:spLocks noChangeArrowheads="1"/>
          </p:cNvSpPr>
          <p:nvPr/>
        </p:nvSpPr>
        <p:spPr bwMode="auto">
          <a:xfrm>
            <a:off x="6153150" y="6173788"/>
            <a:ext cx="1389063" cy="54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</a:rPr>
              <a:t>Check not</a:t>
            </a:r>
            <a:br>
              <a:rPr lang="en-GB" sz="1000">
                <a:solidFill>
                  <a:srgbClr val="000000"/>
                </a:solidFill>
              </a:rPr>
            </a:br>
            <a:r>
              <a:rPr lang="en-GB" sz="1000">
                <a:solidFill>
                  <a:srgbClr val="000000"/>
                </a:solidFill>
              </a:rPr>
              <a:t>performed yet</a:t>
            </a:r>
          </a:p>
        </p:txBody>
      </p:sp>
      <p:sp>
        <p:nvSpPr>
          <p:cNvPr id="36957" name="Rectangle 91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250825" y="88900"/>
            <a:ext cx="8805863" cy="792163"/>
          </a:xfrm>
        </p:spPr>
        <p:txBody>
          <a:bodyPr/>
          <a:lstStyle/>
          <a:p>
            <a:pPr eaLnBrk="1" hangingPunct="1"/>
            <a:r>
              <a:rPr lang="en-GB" b="1" smtClean="0"/>
              <a:t>Virtual Paper</a:t>
            </a:r>
            <a:br>
              <a:rPr lang="en-GB" b="1" smtClean="0"/>
            </a:br>
            <a:r>
              <a:rPr lang="en-GB" smtClean="0"/>
              <a:t>Resources needed for implementation</a:t>
            </a:r>
            <a:endParaRPr lang="en-AU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DCBF6BA6-3AAE-4BDD-B77E-2EE1BCEE1F33}" type="slidenum">
              <a:rPr lang="en-AU" smtClean="0"/>
              <a:pPr/>
              <a:t>46</a:t>
            </a:fld>
            <a:endParaRPr lang="en-AU" smtClean="0"/>
          </a:p>
        </p:txBody>
      </p:sp>
      <p:sp>
        <p:nvSpPr>
          <p:cNvPr id="37891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8064D64A-AC2B-41BB-85DB-73ABF26184B0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7892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3789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893" name="think-cell Slide" r:id="rId7" imgW="0" imgH="0" progId="">
              <p:embed/>
            </p:oleObj>
          </a:graphicData>
        </a:graphic>
      </p:graphicFrame>
      <p:sp>
        <p:nvSpPr>
          <p:cNvPr id="37894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250825" y="88900"/>
            <a:ext cx="9069388" cy="792163"/>
          </a:xfrm>
        </p:spPr>
        <p:txBody>
          <a:bodyPr/>
          <a:lstStyle/>
          <a:p>
            <a:pPr eaLnBrk="1" hangingPunct="1"/>
            <a:r>
              <a:rPr lang="en-GB" b="1" smtClean="0"/>
              <a:t>Virtual Paper</a:t>
            </a:r>
            <a:br>
              <a:rPr lang="en-GB" b="1" smtClean="0"/>
            </a:br>
            <a:r>
              <a:rPr lang="en-GB" smtClean="0"/>
              <a:t>Resources needed for Go-To-Market</a:t>
            </a:r>
            <a:endParaRPr lang="en-AU" smtClean="0"/>
          </a:p>
        </p:txBody>
      </p:sp>
      <p:pic>
        <p:nvPicPr>
          <p:cNvPr id="37895" name="Picture 44" descr="toprightbubbl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896" name="Text Box 4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graphicFrame>
        <p:nvGraphicFramePr>
          <p:cNvPr id="6395911" name="Group 7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238125" y="1133475"/>
          <a:ext cx="9398000" cy="3004370"/>
        </p:xfrm>
        <a:graphic>
          <a:graphicData uri="http://schemas.openxmlformats.org/drawingml/2006/table">
            <a:tbl>
              <a:tblPr/>
              <a:tblGrid>
                <a:gridCol w="2763838"/>
                <a:gridCol w="2451100"/>
                <a:gridCol w="717550"/>
                <a:gridCol w="3465512"/>
              </a:tblGrid>
              <a:tr h="2556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ole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vailable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ments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duct Manager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ert Van Steen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0%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ales representative Belgium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Katrijn Steenbeke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X%, from a/a/a to b/b/b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ales representative Ireland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BC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X%, from a/a/a to b/b/b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ales representative Portugal</a:t>
                      </a:r>
                      <a:endParaRPr kumimoji="0" lang="en-GB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BC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  <a:sym typeface="Wingdings 2" pitchFamily="18" charset="2"/>
                        </a:rPr>
                        <a:t>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X%, from a/a/a to b/b/b</a:t>
                      </a: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94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GB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8000" marR="18000" marT="36006" marB="3600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7969" name="Rectangle 79"/>
          <p:cNvSpPr>
            <a:spLocks noChangeArrowheads="1"/>
          </p:cNvSpPr>
          <p:nvPr/>
        </p:nvSpPr>
        <p:spPr bwMode="auto">
          <a:xfrm>
            <a:off x="2606675" y="6083300"/>
            <a:ext cx="5400675" cy="6397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eaLnBrk="1" hangingPunct="1">
              <a:spcBef>
                <a:spcPct val="50000"/>
              </a:spcBef>
            </a:pPr>
            <a:endParaRPr lang="en-GB" sz="1400"/>
          </a:p>
        </p:txBody>
      </p:sp>
      <p:sp>
        <p:nvSpPr>
          <p:cNvPr id="37970" name="Rectangle 80"/>
          <p:cNvSpPr>
            <a:spLocks noChangeArrowheads="1"/>
          </p:cNvSpPr>
          <p:nvPr/>
        </p:nvSpPr>
        <p:spPr bwMode="auto">
          <a:xfrm>
            <a:off x="3125788" y="6172200"/>
            <a:ext cx="1276350" cy="544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</a:rPr>
              <a:t>Available</a:t>
            </a:r>
          </a:p>
        </p:txBody>
      </p:sp>
      <p:sp>
        <p:nvSpPr>
          <p:cNvPr id="37971" name="Text Box 81"/>
          <p:cNvSpPr txBox="1">
            <a:spLocks noChangeArrowheads="1"/>
          </p:cNvSpPr>
          <p:nvPr/>
        </p:nvSpPr>
        <p:spPr bwMode="auto">
          <a:xfrm>
            <a:off x="2641600" y="5997575"/>
            <a:ext cx="600075" cy="1524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0" rIns="9000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GB" sz="1000"/>
              <a:t>Legend</a:t>
            </a:r>
          </a:p>
        </p:txBody>
      </p:sp>
      <p:sp>
        <p:nvSpPr>
          <p:cNvPr id="37972" name="Rectangle 82"/>
          <p:cNvSpPr>
            <a:spLocks noChangeArrowheads="1"/>
          </p:cNvSpPr>
          <p:nvPr/>
        </p:nvSpPr>
        <p:spPr bwMode="auto">
          <a:xfrm>
            <a:off x="4681538" y="6172200"/>
            <a:ext cx="1389062" cy="544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</a:rPr>
              <a:t>Not available </a:t>
            </a:r>
          </a:p>
        </p:txBody>
      </p:sp>
      <p:sp>
        <p:nvSpPr>
          <p:cNvPr id="37973" name="Text Box 83"/>
          <p:cNvSpPr txBox="1">
            <a:spLocks noChangeArrowheads="1"/>
          </p:cNvSpPr>
          <p:nvPr/>
        </p:nvSpPr>
        <p:spPr bwMode="gray">
          <a:xfrm>
            <a:off x="2795588" y="6216650"/>
            <a:ext cx="379412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2400">
                <a:solidFill>
                  <a:srgbClr val="4D4D4D"/>
                </a:solidFill>
                <a:sym typeface="Wingdings 2" pitchFamily="18" charset="2"/>
              </a:rPr>
              <a:t></a:t>
            </a:r>
          </a:p>
        </p:txBody>
      </p:sp>
      <p:sp>
        <p:nvSpPr>
          <p:cNvPr id="37974" name="Text Box 84"/>
          <p:cNvSpPr txBox="1">
            <a:spLocks noChangeArrowheads="1"/>
          </p:cNvSpPr>
          <p:nvPr/>
        </p:nvSpPr>
        <p:spPr bwMode="gray">
          <a:xfrm>
            <a:off x="4357688" y="6216650"/>
            <a:ext cx="379412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2400">
                <a:solidFill>
                  <a:srgbClr val="FF0000"/>
                </a:solidFill>
                <a:sym typeface="Wingdings 2" pitchFamily="18" charset="2"/>
              </a:rPr>
              <a:t></a:t>
            </a:r>
          </a:p>
        </p:txBody>
      </p:sp>
      <p:sp>
        <p:nvSpPr>
          <p:cNvPr id="37975" name="Text Box 85"/>
          <p:cNvSpPr txBox="1">
            <a:spLocks noChangeArrowheads="1"/>
          </p:cNvSpPr>
          <p:nvPr/>
        </p:nvSpPr>
        <p:spPr bwMode="gray">
          <a:xfrm>
            <a:off x="5840413" y="6216650"/>
            <a:ext cx="379412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54000" tIns="46791" rIns="54000" bIns="46791">
            <a:spAutoFit/>
          </a:bodyPr>
          <a:lstStyle/>
          <a:p>
            <a:pPr defTabSz="869950"/>
            <a:r>
              <a:rPr lang="en-GB" sz="2400">
                <a:solidFill>
                  <a:schemeClr val="tx2"/>
                </a:solidFill>
                <a:sym typeface="Wingdings 2" pitchFamily="18" charset="2"/>
              </a:rPr>
              <a:t></a:t>
            </a:r>
          </a:p>
        </p:txBody>
      </p:sp>
      <p:sp>
        <p:nvSpPr>
          <p:cNvPr id="37976" name="Rectangle 86"/>
          <p:cNvSpPr>
            <a:spLocks noChangeArrowheads="1"/>
          </p:cNvSpPr>
          <p:nvPr/>
        </p:nvSpPr>
        <p:spPr bwMode="auto">
          <a:xfrm>
            <a:off x="6153150" y="6173788"/>
            <a:ext cx="1389063" cy="544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0" rIns="90000" bIns="0" anchor="ctr"/>
          <a:lstStyle/>
          <a:p>
            <a:pPr algn="l" eaLnBrk="1" hangingPunct="1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</a:rPr>
              <a:t>Check not</a:t>
            </a:r>
            <a:br>
              <a:rPr lang="en-GB" sz="1000">
                <a:solidFill>
                  <a:srgbClr val="000000"/>
                </a:solidFill>
              </a:rPr>
            </a:br>
            <a:r>
              <a:rPr lang="en-GB" sz="1000">
                <a:solidFill>
                  <a:srgbClr val="000000"/>
                </a:solidFill>
              </a:rPr>
              <a:t>performed ye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56E1578-B17E-4DE8-AFBF-A21E09F120F8}" type="slidenum">
              <a:rPr lang="en-AU" smtClean="0"/>
              <a:pPr/>
              <a:t>47</a:t>
            </a:fld>
            <a:endParaRPr lang="en-AU" smtClean="0"/>
          </a:p>
        </p:txBody>
      </p:sp>
      <p:sp>
        <p:nvSpPr>
          <p:cNvPr id="38915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8B7AFF03-08BD-4B2B-BC28-3763129BA1AA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38916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graphicFrame>
        <p:nvGraphicFramePr>
          <p:cNvPr id="3891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17" name="think-cell Slide" r:id="rId6" imgW="0" imgH="0" progId="">
              <p:embed/>
            </p:oleObj>
          </a:graphicData>
        </a:graphic>
      </p:graphicFrame>
      <p:sp>
        <p:nvSpPr>
          <p:cNvPr id="38918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AU" smtClean="0"/>
              <a:t>Agenda</a:t>
            </a:r>
          </a:p>
        </p:txBody>
      </p:sp>
      <p:graphicFrame>
        <p:nvGraphicFramePr>
          <p:cNvPr id="6396932" name="Group 4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36538" y="1125538"/>
          <a:ext cx="9350375" cy="1997408"/>
        </p:xfrm>
        <a:graphic>
          <a:graphicData uri="http://schemas.openxmlformats.org/drawingml/2006/table">
            <a:tbl>
              <a:tblPr/>
              <a:tblGrid>
                <a:gridCol w="9350375"/>
              </a:tblGrid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tion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ecutive Summary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ue Proposition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act Analysi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ncial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ning and Next Steps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52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Pct val="70000"/>
                        <a:buFontTx/>
                        <a:buNone/>
                        <a:tabLst/>
                      </a:pPr>
                      <a:r>
                        <a:rPr kumimoji="0" lang="en-A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ck-Up</a:t>
                      </a:r>
                    </a:p>
                  </a:txBody>
                  <a:tcPr marL="18000" marR="18000" marT="35992" marB="3599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l-BE" dirty="0" smtClean="0"/>
              <a:t>Display Advertising in Mobile</a:t>
            </a:r>
            <a:endParaRPr lang="en-US" dirty="0" smtClean="0"/>
          </a:p>
        </p:txBody>
      </p:sp>
      <p:sp>
        <p:nvSpPr>
          <p:cNvPr id="8195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48F2DE0-7724-4964-861B-E9A98BE6C403}" type="slidenum">
              <a:rPr lang="en-AU" smtClean="0"/>
              <a:pPr/>
              <a:t>5</a:t>
            </a:fld>
            <a:endParaRPr lang="en-AU" smtClean="0"/>
          </a:p>
        </p:txBody>
      </p:sp>
      <p:sp>
        <p:nvSpPr>
          <p:cNvPr id="8196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66D4B22D-CAD0-4DAC-92F2-50B66E042E2C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8197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1130 Business Case Template v2.0</a:t>
            </a:r>
            <a:endParaRPr lang="en-AU"/>
          </a:p>
        </p:txBody>
      </p:sp>
      <p:pic>
        <p:nvPicPr>
          <p:cNvPr id="8202" name="Picture 44" descr="toprightbubbl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03" name="Text Box 4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 eaLnBrk="1" hangingPunct="1"/>
            <a:r>
              <a:rPr lang="en-US" sz="1600" dirty="0" smtClean="0">
                <a:solidFill>
                  <a:schemeClr val="bg1"/>
                </a:solidFill>
                <a:cs typeface="Arial" charset="0"/>
              </a:rPr>
              <a:t>In 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93013" y="1196752"/>
            <a:ext cx="2402923" cy="5244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89216" y="1195540"/>
            <a:ext cx="2379128" cy="5309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1485000" y="3573016"/>
            <a:ext cx="2618947" cy="936104"/>
          </a:xfrm>
          <a:prstGeom prst="round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7"/>
              </a:buBlip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5169306" y="1988840"/>
            <a:ext cx="2618947" cy="936104"/>
          </a:xfrm>
          <a:prstGeom prst="round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7"/>
              </a:buBlip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71031CF5-1B73-4C24-BE97-63A699D6B344}" type="slidenum">
              <a:rPr lang="en-AU" smtClean="0"/>
              <a:pPr/>
              <a:t>6</a:t>
            </a:fld>
            <a:endParaRPr lang="en-AU" smtClean="0"/>
          </a:p>
        </p:txBody>
      </p:sp>
      <p:sp>
        <p:nvSpPr>
          <p:cNvPr id="9219" name="Date Placeholder 4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/>
          <a:p>
            <a:fld id="{79159BE4-E54C-4AD7-93CD-E083A8907360}" type="datetime4">
              <a:rPr lang="en-US" smtClean="0"/>
              <a:pPr/>
              <a:t>March 31, 2011</a:t>
            </a:fld>
            <a:endParaRPr lang="en-AU" smtClean="0"/>
          </a:p>
        </p:txBody>
      </p:sp>
      <p:sp>
        <p:nvSpPr>
          <p:cNvPr id="9220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r>
              <a:rPr lang="en-GB"/>
              <a:t>20100107 Draft BC - Virtual Paper</a:t>
            </a:r>
            <a:endParaRPr lang="en-AU"/>
          </a:p>
        </p:txBody>
      </p:sp>
      <p:sp>
        <p:nvSpPr>
          <p:cNvPr id="9221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88900"/>
            <a:ext cx="82915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algn="l" eaLnBrk="1" hangingPunct="1">
              <a:lnSpc>
                <a:spcPct val="9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In-App Advertising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Value Proposition</a:t>
            </a:r>
            <a:endParaRPr lang="en-AU" sz="2400" dirty="0">
              <a:solidFill>
                <a:schemeClr val="tx2"/>
              </a:solidFill>
            </a:endParaRPr>
          </a:p>
        </p:txBody>
      </p:sp>
      <p:pic>
        <p:nvPicPr>
          <p:cNvPr id="9222" name="Picture 44" descr="toprightbubb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5"/>
          <a:srcRect t="38245" r="18710"/>
          <a:stretch>
            <a:fillRect/>
          </a:stretch>
        </p:blipFill>
        <p:spPr bwMode="auto">
          <a:xfrm>
            <a:off x="8358188" y="3175"/>
            <a:ext cx="15478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3" name="Text Box 4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1713" y="0"/>
            <a:ext cx="123348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r>
              <a:rPr lang="en-AU" sz="1600" dirty="0" smtClean="0">
                <a:solidFill>
                  <a:schemeClr val="bg1"/>
                </a:solidFill>
                <a:cs typeface="Arial" charset="0"/>
              </a:rPr>
              <a:t>In-App Advertising</a:t>
            </a:r>
            <a:endParaRPr lang="en-AU" sz="16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224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9238" y="828687"/>
            <a:ext cx="4610100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 b="1">
                <a:cs typeface="Arial" charset="0"/>
              </a:rPr>
              <a:t>Detailed description of concept</a:t>
            </a:r>
          </a:p>
        </p:txBody>
      </p:sp>
      <p:sp>
        <p:nvSpPr>
          <p:cNvPr id="9225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08563" y="1123962"/>
            <a:ext cx="4627562" cy="1704975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dirty="0">
                <a:cs typeface="Arial" charset="0"/>
              </a:rPr>
              <a:t>Key discriminators:</a:t>
            </a:r>
          </a:p>
          <a:p>
            <a:pPr algn="l">
              <a:buFont typeface="Arial" pitchFamily="34" charset="0"/>
              <a:buChar char="•"/>
            </a:pPr>
            <a:r>
              <a:rPr lang="nl-BE" dirty="0" smtClean="0">
                <a:cs typeface="Arial" charset="0"/>
              </a:rPr>
              <a:t>Brand awareness</a:t>
            </a:r>
            <a:endParaRPr lang="nl-BE" dirty="0">
              <a:cs typeface="Arial" charset="0"/>
            </a:endParaRPr>
          </a:p>
          <a:p>
            <a:pPr algn="l">
              <a:buFont typeface="Arial" pitchFamily="34" charset="0"/>
              <a:buChar char="•"/>
            </a:pPr>
            <a:r>
              <a:rPr lang="nl-BE" dirty="0">
                <a:cs typeface="Arial" charset="0"/>
              </a:rPr>
              <a:t>Possibility to target campaigns </a:t>
            </a:r>
            <a:r>
              <a:rPr lang="nl-BE" dirty="0" smtClean="0">
                <a:cs typeface="Arial" charset="0"/>
              </a:rPr>
              <a:t>with higher efficiency</a:t>
            </a:r>
            <a:endParaRPr lang="nl-BE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/>
            <a:r>
              <a:rPr lang="en-GB" dirty="0">
                <a:cs typeface="Arial" charset="0"/>
              </a:rPr>
              <a:t>Supporting features:</a:t>
            </a: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Display ads served contextually</a:t>
            </a:r>
            <a:endParaRPr lang="en-GB" dirty="0">
              <a:cs typeface="Arial" charset="0"/>
            </a:endParaRPr>
          </a:p>
        </p:txBody>
      </p:sp>
      <p:sp>
        <p:nvSpPr>
          <p:cNvPr id="9226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08563" y="812812"/>
            <a:ext cx="4627562" cy="280988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Benefits for advertisers</a:t>
            </a:r>
          </a:p>
        </p:txBody>
      </p:sp>
      <p:sp>
        <p:nvSpPr>
          <p:cNvPr id="9227" name="AutoShape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008563" y="5124450"/>
            <a:ext cx="4627562" cy="1347788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dirty="0">
                <a:cs typeface="Arial" charset="0"/>
              </a:rPr>
              <a:t>Key discriminators:</a:t>
            </a: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Additional revenue stream </a:t>
            </a: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Portfolio diversification</a:t>
            </a: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Step into emerging market with high potential</a:t>
            </a:r>
            <a:endParaRPr lang="en-GB" dirty="0">
              <a:cs typeface="Arial" charset="0"/>
            </a:endParaRP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</p:txBody>
      </p:sp>
      <p:sp>
        <p:nvSpPr>
          <p:cNvPr id="9228" name="AutoShape 1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008563" y="4832350"/>
            <a:ext cx="4627562" cy="280988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 dirty="0">
                <a:cs typeface="Arial" charset="0"/>
              </a:rPr>
              <a:t>Benefits for </a:t>
            </a:r>
            <a:r>
              <a:rPr lang="en-GB" sz="1400" dirty="0" err="1" smtClean="0">
                <a:cs typeface="Arial" charset="0"/>
              </a:rPr>
              <a:t>Truvo</a:t>
            </a:r>
            <a:r>
              <a:rPr lang="en-GB" sz="1400" dirty="0" smtClean="0">
                <a:cs typeface="Arial" charset="0"/>
              </a:rPr>
              <a:t> </a:t>
            </a:r>
            <a:endParaRPr lang="en-GB" sz="1400" dirty="0">
              <a:cs typeface="Arial" charset="0"/>
            </a:endParaRPr>
          </a:p>
        </p:txBody>
      </p:sp>
      <p:sp>
        <p:nvSpPr>
          <p:cNvPr id="6268940" name="AutoShap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49238" y="1520837"/>
            <a:ext cx="4616450" cy="3125054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lIns="54000" tIns="46791" rIns="54000" bIns="46791"/>
          <a:lstStyle/>
          <a:p>
            <a:pPr algn="l" eaLnBrk="1" hangingPunct="1">
              <a:buFont typeface="Arial" pitchFamily="34" charset="0"/>
              <a:buChar char="•"/>
              <a:defRPr/>
            </a:pPr>
            <a:r>
              <a:rPr lang="nl-BE" sz="1100" dirty="0"/>
              <a:t>Key product USP: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 smtClean="0"/>
              <a:t>Display advertising in an growing platform such as mobile, with targeting possibilities to address specific consumer segments</a:t>
            </a:r>
            <a:endParaRPr lang="nl-BE" sz="1050" dirty="0"/>
          </a:p>
          <a:p>
            <a:pPr algn="l" eaLnBrk="1" hangingPunct="1">
              <a:buFont typeface="Arial" pitchFamily="34" charset="0"/>
              <a:buChar char="•"/>
              <a:defRPr/>
            </a:pPr>
            <a:r>
              <a:rPr lang="nl-BE" sz="1100" dirty="0"/>
              <a:t>Target customers: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 smtClean="0"/>
              <a:t>Existing </a:t>
            </a:r>
            <a:r>
              <a:rPr lang="nl-BE" sz="1050" dirty="0"/>
              <a:t>and new customers</a:t>
            </a:r>
          </a:p>
          <a:p>
            <a:pPr algn="l" eaLnBrk="1" hangingPunct="1">
              <a:buFont typeface="Arial" pitchFamily="34" charset="0"/>
              <a:buChar char="•"/>
              <a:defRPr/>
            </a:pPr>
            <a:r>
              <a:rPr lang="nl-BE" sz="1100" dirty="0"/>
              <a:t> Product availability: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/>
              <a:t>Launch as </a:t>
            </a:r>
            <a:r>
              <a:rPr lang="nl-BE" sz="1050" dirty="0" smtClean="0"/>
              <a:t>a stand alone item in mobile</a:t>
            </a:r>
            <a:endParaRPr lang="nl-BE" sz="1050" dirty="0"/>
          </a:p>
          <a:p>
            <a:pPr algn="l" eaLnBrk="1" hangingPunct="1">
              <a:buFont typeface="Arial" pitchFamily="34" charset="0"/>
              <a:buChar char="•"/>
              <a:defRPr/>
            </a:pPr>
            <a:r>
              <a:rPr lang="nl-BE" sz="1100" dirty="0"/>
              <a:t>Product specifications: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 smtClean="0"/>
              <a:t>Banner served in mobile (both mdot and iphone, ipad and android aps)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 smtClean="0"/>
              <a:t>Banner placements (168 x 28) in Home Page and search results page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 smtClean="0"/>
              <a:t>Banner will link to: customer’s mobile website, my site, detail page or click to call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 smtClean="0"/>
              <a:t>Sold in a pay per inclusion model, with targeting by context (Home Page or heading) and geography</a:t>
            </a:r>
          </a:p>
          <a:p>
            <a:pPr lvl="1" algn="l" eaLnBrk="1" hangingPunct="1">
              <a:buFont typeface="Arial" pitchFamily="34" charset="0"/>
              <a:buChar char="•"/>
              <a:defRPr/>
            </a:pPr>
            <a:r>
              <a:rPr lang="nl-BE" sz="1050" dirty="0" smtClean="0"/>
              <a:t>There is a limit of three ads per combination of contextual + geography targeting – each ad will get 33% of impressions, in case the full inventory is taken</a:t>
            </a:r>
            <a:endParaRPr lang="nl-BE" sz="1050" dirty="0"/>
          </a:p>
        </p:txBody>
      </p:sp>
      <p:sp>
        <p:nvSpPr>
          <p:cNvPr id="9230" name="AutoShape 1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49238" y="1201750"/>
            <a:ext cx="4616450" cy="280987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>
                <a:cs typeface="Arial" charset="0"/>
              </a:rPr>
              <a:t>Offering (key features)</a:t>
            </a:r>
          </a:p>
        </p:txBody>
      </p:sp>
      <p:sp>
        <p:nvSpPr>
          <p:cNvPr id="9231" name="AutoShape 7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49238" y="4686300"/>
            <a:ext cx="3154362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 b="1">
                <a:cs typeface="Arial" charset="0"/>
              </a:rPr>
              <a:t>Suggested commercial launch</a:t>
            </a:r>
          </a:p>
        </p:txBody>
      </p:sp>
      <p:sp>
        <p:nvSpPr>
          <p:cNvPr id="9232" name="AutoShape 7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451225" y="4686300"/>
            <a:ext cx="1425575" cy="339725"/>
          </a:xfrm>
          <a:prstGeom prst="roundRect">
            <a:avLst>
              <a:gd name="adj" fmla="val 13083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marL="177800" indent="-177800" defTabSz="869950"/>
            <a:r>
              <a:rPr lang="en-GB" sz="1300" dirty="0" smtClean="0">
                <a:cs typeface="Arial" charset="0"/>
              </a:rPr>
              <a:t>September 2011</a:t>
            </a:r>
            <a:endParaRPr lang="en-GB" sz="1300" dirty="0">
              <a:cs typeface="Arial" charset="0"/>
            </a:endParaRPr>
          </a:p>
        </p:txBody>
      </p:sp>
      <p:sp>
        <p:nvSpPr>
          <p:cNvPr id="9233" name="AutoShape 7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008563" y="2855925"/>
            <a:ext cx="4627562" cy="280987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400" dirty="0">
                <a:cs typeface="Arial" charset="0"/>
              </a:rPr>
              <a:t>Benefits for </a:t>
            </a:r>
            <a:r>
              <a:rPr lang="en-GB" sz="1400" dirty="0" smtClean="0">
                <a:cs typeface="Arial" charset="0"/>
              </a:rPr>
              <a:t>end-user</a:t>
            </a:r>
            <a:endParaRPr lang="en-GB" sz="1400" dirty="0">
              <a:cs typeface="Arial" charset="0"/>
            </a:endParaRPr>
          </a:p>
        </p:txBody>
      </p:sp>
      <p:sp>
        <p:nvSpPr>
          <p:cNvPr id="9234" name="AutoShape 77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008563" y="3165487"/>
            <a:ext cx="4627562" cy="1572768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marL="177800" indent="-177800" algn="l" defTabSz="869950"/>
            <a:r>
              <a:rPr lang="en-GB" dirty="0">
                <a:cs typeface="Arial" charset="0"/>
              </a:rPr>
              <a:t>Key discriminators:</a:t>
            </a:r>
          </a:p>
          <a:p>
            <a:pPr algn="l">
              <a:buFont typeface="Arial" pitchFamily="34" charset="0"/>
              <a:buChar char="•"/>
            </a:pPr>
            <a:r>
              <a:rPr lang="nl-BE" dirty="0" smtClean="0">
                <a:cs typeface="Arial" charset="0"/>
              </a:rPr>
              <a:t>Relevant </a:t>
            </a:r>
            <a:r>
              <a:rPr lang="nl-BE" dirty="0">
                <a:cs typeface="Arial" charset="0"/>
              </a:rPr>
              <a:t>banner </a:t>
            </a:r>
            <a:r>
              <a:rPr lang="nl-BE" dirty="0" smtClean="0">
                <a:cs typeface="Arial" charset="0"/>
              </a:rPr>
              <a:t>campaigns, served contextually</a:t>
            </a:r>
            <a:endParaRPr lang="nl-BE" dirty="0">
              <a:cs typeface="Arial" charset="0"/>
            </a:endParaRPr>
          </a:p>
          <a:p>
            <a:pPr algn="l">
              <a:buFont typeface="Arial" pitchFamily="34" charset="0"/>
              <a:buChar char="•"/>
            </a:pPr>
            <a:r>
              <a:rPr lang="nl-BE" dirty="0">
                <a:cs typeface="Arial" charset="0"/>
              </a:rPr>
              <a:t>Inspirational / guiding </a:t>
            </a:r>
          </a:p>
          <a:p>
            <a:pPr marL="177800" indent="-177800" algn="l" defTabSz="869950">
              <a:buFontTx/>
              <a:buChar char="•"/>
            </a:pPr>
            <a:endParaRPr lang="en-GB" dirty="0">
              <a:cs typeface="Arial" charset="0"/>
            </a:endParaRPr>
          </a:p>
          <a:p>
            <a:pPr marL="177800" indent="-177800" algn="l" defTabSz="869950"/>
            <a:r>
              <a:rPr lang="en-GB" dirty="0">
                <a:cs typeface="Arial" charset="0"/>
              </a:rPr>
              <a:t>Supporting features:</a:t>
            </a:r>
          </a:p>
          <a:p>
            <a:pPr marL="177800" indent="-177800" algn="l" defTabSz="869950">
              <a:buFontTx/>
              <a:buChar char="•"/>
            </a:pPr>
            <a:r>
              <a:rPr lang="en-GB" dirty="0" smtClean="0">
                <a:cs typeface="Arial" charset="0"/>
              </a:rPr>
              <a:t>Display ads served contextually</a:t>
            </a:r>
            <a:endParaRPr lang="en-GB" dirty="0">
              <a:cs typeface="Arial" charset="0"/>
            </a:endParaRPr>
          </a:p>
        </p:txBody>
      </p:sp>
      <p:sp>
        <p:nvSpPr>
          <p:cNvPr id="9235" name="AutoShape 7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366838" y="5211763"/>
            <a:ext cx="1249362" cy="1236662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algn="l" defTabSz="869950"/>
            <a:endParaRPr lang="en-GB">
              <a:cs typeface="Arial" charset="0"/>
            </a:endParaRPr>
          </a:p>
        </p:txBody>
      </p:sp>
      <p:sp>
        <p:nvSpPr>
          <p:cNvPr id="9236" name="AutoShape 79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779838" y="5211763"/>
            <a:ext cx="1060450" cy="1236662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algn="l" defTabSz="869950"/>
            <a:endParaRPr lang="en-GB">
              <a:cs typeface="Arial" charset="0"/>
            </a:endParaRPr>
          </a:p>
        </p:txBody>
      </p:sp>
      <p:grpSp>
        <p:nvGrpSpPr>
          <p:cNvPr id="9237" name="Group 92"/>
          <p:cNvGrpSpPr>
            <a:grpSpLocks/>
          </p:cNvGrpSpPr>
          <p:nvPr/>
        </p:nvGrpSpPr>
        <p:grpSpPr bwMode="auto">
          <a:xfrm>
            <a:off x="1430338" y="5387975"/>
            <a:ext cx="1173162" cy="222250"/>
            <a:chOff x="901" y="3163"/>
            <a:chExt cx="739" cy="140"/>
          </a:xfrm>
        </p:grpSpPr>
        <p:sp>
          <p:nvSpPr>
            <p:cNvPr id="9303" name="Rectangle 93"/>
            <p:cNvSpPr>
              <a:spLocks noChangeArrowheads="1"/>
            </p:cNvSpPr>
            <p:nvPr/>
          </p:nvSpPr>
          <p:spPr bwMode="auto">
            <a:xfrm>
              <a:off x="1012" y="3163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>
                  <a:cs typeface="Arial" charset="0"/>
                </a:rPr>
                <a:t>Drives short term revenues</a:t>
              </a:r>
            </a:p>
          </p:txBody>
        </p:sp>
        <p:sp>
          <p:nvSpPr>
            <p:cNvPr id="9304" name="Rectangle 94"/>
            <p:cNvSpPr>
              <a:spLocks noChangeArrowheads="1"/>
            </p:cNvSpPr>
            <p:nvPr/>
          </p:nvSpPr>
          <p:spPr bwMode="auto">
            <a:xfrm>
              <a:off x="901" y="3187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grpSp>
        <p:nvGrpSpPr>
          <p:cNvPr id="9238" name="Group 95"/>
          <p:cNvGrpSpPr>
            <a:grpSpLocks/>
          </p:cNvGrpSpPr>
          <p:nvPr/>
        </p:nvGrpSpPr>
        <p:grpSpPr bwMode="auto">
          <a:xfrm>
            <a:off x="1430338" y="5649913"/>
            <a:ext cx="1173162" cy="222250"/>
            <a:chOff x="901" y="3398"/>
            <a:chExt cx="739" cy="140"/>
          </a:xfrm>
        </p:grpSpPr>
        <p:sp>
          <p:nvSpPr>
            <p:cNvPr id="9301" name="Rectangle 96"/>
            <p:cNvSpPr>
              <a:spLocks noChangeArrowheads="1"/>
            </p:cNvSpPr>
            <p:nvPr/>
          </p:nvSpPr>
          <p:spPr bwMode="auto">
            <a:xfrm>
              <a:off x="1012" y="3398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>
                  <a:cs typeface="Arial" charset="0"/>
                </a:rPr>
                <a:t>Grows usage</a:t>
              </a:r>
            </a:p>
          </p:txBody>
        </p:sp>
        <p:sp>
          <p:nvSpPr>
            <p:cNvPr id="9302" name="Rectangle 97"/>
            <p:cNvSpPr>
              <a:spLocks noChangeArrowheads="1"/>
            </p:cNvSpPr>
            <p:nvPr/>
          </p:nvSpPr>
          <p:spPr bwMode="auto">
            <a:xfrm>
              <a:off x="901" y="3422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grpSp>
        <p:nvGrpSpPr>
          <p:cNvPr id="9239" name="Group 98"/>
          <p:cNvGrpSpPr>
            <a:grpSpLocks/>
          </p:cNvGrpSpPr>
          <p:nvPr/>
        </p:nvGrpSpPr>
        <p:grpSpPr bwMode="auto">
          <a:xfrm>
            <a:off x="1430338" y="5911850"/>
            <a:ext cx="1173162" cy="222250"/>
            <a:chOff x="901" y="3634"/>
            <a:chExt cx="739" cy="140"/>
          </a:xfrm>
        </p:grpSpPr>
        <p:sp>
          <p:nvSpPr>
            <p:cNvPr id="9299" name="Rectangle 99"/>
            <p:cNvSpPr>
              <a:spLocks noChangeArrowheads="1"/>
            </p:cNvSpPr>
            <p:nvPr/>
          </p:nvSpPr>
          <p:spPr bwMode="auto">
            <a:xfrm>
              <a:off x="1012" y="3634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>
                  <a:cs typeface="Arial" charset="0"/>
                </a:rPr>
                <a:t>Exciting, fun and innovative</a:t>
              </a:r>
            </a:p>
          </p:txBody>
        </p:sp>
        <p:sp>
          <p:nvSpPr>
            <p:cNvPr id="9300" name="Rectangle 100"/>
            <p:cNvSpPr>
              <a:spLocks noChangeArrowheads="1"/>
            </p:cNvSpPr>
            <p:nvPr/>
          </p:nvSpPr>
          <p:spPr bwMode="auto">
            <a:xfrm>
              <a:off x="901" y="3658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grpSp>
        <p:nvGrpSpPr>
          <p:cNvPr id="9240" name="Group 101"/>
          <p:cNvGrpSpPr>
            <a:grpSpLocks/>
          </p:cNvGrpSpPr>
          <p:nvPr/>
        </p:nvGrpSpPr>
        <p:grpSpPr bwMode="auto">
          <a:xfrm>
            <a:off x="1430338" y="6173788"/>
            <a:ext cx="1173162" cy="222250"/>
            <a:chOff x="901" y="3870"/>
            <a:chExt cx="739" cy="140"/>
          </a:xfrm>
        </p:grpSpPr>
        <p:sp>
          <p:nvSpPr>
            <p:cNvPr id="9297" name="Rectangle 102"/>
            <p:cNvSpPr>
              <a:spLocks noChangeArrowheads="1"/>
            </p:cNvSpPr>
            <p:nvPr/>
          </p:nvSpPr>
          <p:spPr bwMode="auto">
            <a:xfrm>
              <a:off x="1012" y="3870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>
                  <a:cs typeface="Arial" charset="0"/>
                </a:rPr>
                <a:t>Enabling platform</a:t>
              </a:r>
            </a:p>
          </p:txBody>
        </p:sp>
        <p:sp>
          <p:nvSpPr>
            <p:cNvPr id="9298" name="Rectangle 103"/>
            <p:cNvSpPr>
              <a:spLocks noChangeArrowheads="1"/>
            </p:cNvSpPr>
            <p:nvPr/>
          </p:nvSpPr>
          <p:spPr bwMode="auto">
            <a:xfrm>
              <a:off x="901" y="3894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sp>
        <p:nvSpPr>
          <p:cNvPr id="9241" name="AutoShape 104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49238" y="5211763"/>
            <a:ext cx="1071562" cy="1236662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algn="l" defTabSz="869950"/>
            <a:endParaRPr lang="en-GB">
              <a:cs typeface="Arial" charset="0"/>
            </a:endParaRPr>
          </a:p>
        </p:txBody>
      </p:sp>
      <p:grpSp>
        <p:nvGrpSpPr>
          <p:cNvPr id="9242" name="Group 105"/>
          <p:cNvGrpSpPr>
            <a:grpSpLocks/>
          </p:cNvGrpSpPr>
          <p:nvPr/>
        </p:nvGrpSpPr>
        <p:grpSpPr bwMode="auto">
          <a:xfrm>
            <a:off x="312738" y="5387975"/>
            <a:ext cx="1173162" cy="222250"/>
            <a:chOff x="197" y="3163"/>
            <a:chExt cx="739" cy="140"/>
          </a:xfrm>
        </p:grpSpPr>
        <p:sp>
          <p:nvSpPr>
            <p:cNvPr id="9295" name="Rectangle 106"/>
            <p:cNvSpPr>
              <a:spLocks noChangeArrowheads="1"/>
            </p:cNvSpPr>
            <p:nvPr/>
          </p:nvSpPr>
          <p:spPr bwMode="auto">
            <a:xfrm>
              <a:off x="308" y="3163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>
                  <a:cs typeface="Arial" charset="0"/>
                </a:rPr>
                <a:t>Print</a:t>
              </a:r>
            </a:p>
          </p:txBody>
        </p:sp>
        <p:sp>
          <p:nvSpPr>
            <p:cNvPr id="9296" name="Rectangle 107"/>
            <p:cNvSpPr>
              <a:spLocks noChangeArrowheads="1"/>
            </p:cNvSpPr>
            <p:nvPr/>
          </p:nvSpPr>
          <p:spPr bwMode="auto">
            <a:xfrm>
              <a:off x="197" y="3187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grpSp>
        <p:nvGrpSpPr>
          <p:cNvPr id="9243" name="Group 108"/>
          <p:cNvGrpSpPr>
            <a:grpSpLocks/>
          </p:cNvGrpSpPr>
          <p:nvPr/>
        </p:nvGrpSpPr>
        <p:grpSpPr bwMode="auto">
          <a:xfrm>
            <a:off x="312738" y="5649913"/>
            <a:ext cx="1173162" cy="222250"/>
            <a:chOff x="197" y="3398"/>
            <a:chExt cx="739" cy="140"/>
          </a:xfrm>
        </p:grpSpPr>
        <p:sp>
          <p:nvSpPr>
            <p:cNvPr id="9293" name="Rectangle 109"/>
            <p:cNvSpPr>
              <a:spLocks noChangeArrowheads="1"/>
            </p:cNvSpPr>
            <p:nvPr/>
          </p:nvSpPr>
          <p:spPr bwMode="auto">
            <a:xfrm>
              <a:off x="308" y="3398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>
                  <a:cs typeface="Arial" charset="0"/>
                </a:rPr>
                <a:t>Online (directory)</a:t>
              </a:r>
            </a:p>
          </p:txBody>
        </p:sp>
        <p:sp>
          <p:nvSpPr>
            <p:cNvPr id="9294" name="Rectangle 110"/>
            <p:cNvSpPr>
              <a:spLocks noChangeArrowheads="1"/>
            </p:cNvSpPr>
            <p:nvPr/>
          </p:nvSpPr>
          <p:spPr bwMode="auto">
            <a:xfrm>
              <a:off x="197" y="3422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grpSp>
        <p:nvGrpSpPr>
          <p:cNvPr id="9244" name="Group 111"/>
          <p:cNvGrpSpPr>
            <a:grpSpLocks/>
          </p:cNvGrpSpPr>
          <p:nvPr/>
        </p:nvGrpSpPr>
        <p:grpSpPr bwMode="auto">
          <a:xfrm>
            <a:off x="312738" y="5911850"/>
            <a:ext cx="1173162" cy="222250"/>
            <a:chOff x="197" y="3634"/>
            <a:chExt cx="739" cy="140"/>
          </a:xfrm>
        </p:grpSpPr>
        <p:sp>
          <p:nvSpPr>
            <p:cNvPr id="9291" name="Rectangle 112"/>
            <p:cNvSpPr>
              <a:spLocks noChangeArrowheads="1"/>
            </p:cNvSpPr>
            <p:nvPr/>
          </p:nvSpPr>
          <p:spPr bwMode="auto">
            <a:xfrm>
              <a:off x="308" y="3634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>
                  <a:cs typeface="Arial" charset="0"/>
                </a:rPr>
                <a:t>Online (non- directory)</a:t>
              </a:r>
            </a:p>
          </p:txBody>
        </p:sp>
        <p:sp>
          <p:nvSpPr>
            <p:cNvPr id="9292" name="Rectangle 113"/>
            <p:cNvSpPr>
              <a:spLocks noChangeArrowheads="1"/>
            </p:cNvSpPr>
            <p:nvPr/>
          </p:nvSpPr>
          <p:spPr bwMode="auto">
            <a:xfrm>
              <a:off x="197" y="3658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grpSp>
        <p:nvGrpSpPr>
          <p:cNvPr id="9245" name="Group 114"/>
          <p:cNvGrpSpPr>
            <a:grpSpLocks/>
          </p:cNvGrpSpPr>
          <p:nvPr/>
        </p:nvGrpSpPr>
        <p:grpSpPr bwMode="auto">
          <a:xfrm>
            <a:off x="312738" y="6173788"/>
            <a:ext cx="1173162" cy="222250"/>
            <a:chOff x="197" y="3870"/>
            <a:chExt cx="739" cy="140"/>
          </a:xfrm>
        </p:grpSpPr>
        <p:sp>
          <p:nvSpPr>
            <p:cNvPr id="9289" name="Rectangle 115"/>
            <p:cNvSpPr>
              <a:spLocks noChangeArrowheads="1"/>
            </p:cNvSpPr>
            <p:nvPr/>
          </p:nvSpPr>
          <p:spPr bwMode="auto">
            <a:xfrm>
              <a:off x="308" y="3870"/>
              <a:ext cx="62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900" dirty="0" smtClean="0">
                  <a:cs typeface="Arial" charset="0"/>
                </a:rPr>
                <a:t>Mobile</a:t>
              </a:r>
              <a:endParaRPr lang="en-GB" sz="900" dirty="0">
                <a:cs typeface="Arial" charset="0"/>
              </a:endParaRPr>
            </a:p>
          </p:txBody>
        </p:sp>
        <p:sp>
          <p:nvSpPr>
            <p:cNvPr id="9290" name="Rectangle 116"/>
            <p:cNvSpPr>
              <a:spLocks noChangeArrowheads="1"/>
            </p:cNvSpPr>
            <p:nvPr/>
          </p:nvSpPr>
          <p:spPr bwMode="auto">
            <a:xfrm>
              <a:off x="197" y="3894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</p:grpSp>
      <p:sp>
        <p:nvSpPr>
          <p:cNvPr id="9246" name="AutoShape 11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667000" y="5210175"/>
            <a:ext cx="1060450" cy="1236663"/>
          </a:xfrm>
          <a:prstGeom prst="roundRect">
            <a:avLst>
              <a:gd name="adj" fmla="val 3148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/>
          <a:lstStyle/>
          <a:p>
            <a:pPr algn="l" defTabSz="869950"/>
            <a:endParaRPr lang="en-GB">
              <a:cs typeface="Arial" charset="0"/>
            </a:endParaRPr>
          </a:p>
        </p:txBody>
      </p:sp>
      <p:grpSp>
        <p:nvGrpSpPr>
          <p:cNvPr id="9247" name="Group 118"/>
          <p:cNvGrpSpPr>
            <a:grpSpLocks/>
          </p:cNvGrpSpPr>
          <p:nvPr/>
        </p:nvGrpSpPr>
        <p:grpSpPr bwMode="auto">
          <a:xfrm>
            <a:off x="2741613" y="5387975"/>
            <a:ext cx="1074737" cy="222250"/>
            <a:chOff x="1735" y="3142"/>
            <a:chExt cx="677" cy="140"/>
          </a:xfrm>
        </p:grpSpPr>
        <p:sp>
          <p:nvSpPr>
            <p:cNvPr id="9287" name="Rectangle 119"/>
            <p:cNvSpPr>
              <a:spLocks noChangeArrowheads="1"/>
            </p:cNvSpPr>
            <p:nvPr/>
          </p:nvSpPr>
          <p:spPr bwMode="auto">
            <a:xfrm>
              <a:off x="1735" y="3166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88" name="Rectangle 120"/>
            <p:cNvSpPr>
              <a:spLocks noChangeArrowheads="1"/>
            </p:cNvSpPr>
            <p:nvPr/>
          </p:nvSpPr>
          <p:spPr bwMode="auto">
            <a:xfrm>
              <a:off x="1854" y="3142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Print</a:t>
              </a:r>
            </a:p>
          </p:txBody>
        </p:sp>
      </p:grpSp>
      <p:grpSp>
        <p:nvGrpSpPr>
          <p:cNvPr id="9248" name="Group 121"/>
          <p:cNvGrpSpPr>
            <a:grpSpLocks/>
          </p:cNvGrpSpPr>
          <p:nvPr/>
        </p:nvGrpSpPr>
        <p:grpSpPr bwMode="auto">
          <a:xfrm>
            <a:off x="2741613" y="5584825"/>
            <a:ext cx="1074737" cy="222250"/>
            <a:chOff x="1735" y="3338"/>
            <a:chExt cx="677" cy="140"/>
          </a:xfrm>
        </p:grpSpPr>
        <p:sp>
          <p:nvSpPr>
            <p:cNvPr id="9285" name="Rectangle 122"/>
            <p:cNvSpPr>
              <a:spLocks noChangeArrowheads="1"/>
            </p:cNvSpPr>
            <p:nvPr/>
          </p:nvSpPr>
          <p:spPr bwMode="auto">
            <a:xfrm>
              <a:off x="1735" y="3362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86" name="Rectangle 123"/>
            <p:cNvSpPr>
              <a:spLocks noChangeArrowheads="1"/>
            </p:cNvSpPr>
            <p:nvPr/>
          </p:nvSpPr>
          <p:spPr bwMode="auto">
            <a:xfrm>
              <a:off x="1854" y="3338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Web</a:t>
              </a:r>
            </a:p>
          </p:txBody>
        </p:sp>
      </p:grpSp>
      <p:grpSp>
        <p:nvGrpSpPr>
          <p:cNvPr id="9249" name="Group 124"/>
          <p:cNvGrpSpPr>
            <a:grpSpLocks/>
          </p:cNvGrpSpPr>
          <p:nvPr/>
        </p:nvGrpSpPr>
        <p:grpSpPr bwMode="auto">
          <a:xfrm>
            <a:off x="2741613" y="6173788"/>
            <a:ext cx="1074737" cy="222250"/>
            <a:chOff x="1735" y="3869"/>
            <a:chExt cx="677" cy="140"/>
          </a:xfrm>
        </p:grpSpPr>
        <p:sp>
          <p:nvSpPr>
            <p:cNvPr id="9283" name="Rectangle 125"/>
            <p:cNvSpPr>
              <a:spLocks noChangeArrowheads="1"/>
            </p:cNvSpPr>
            <p:nvPr/>
          </p:nvSpPr>
          <p:spPr bwMode="auto">
            <a:xfrm>
              <a:off x="1735" y="3893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84" name="Rectangle 126"/>
            <p:cNvSpPr>
              <a:spLocks noChangeArrowheads="1"/>
            </p:cNvSpPr>
            <p:nvPr/>
          </p:nvSpPr>
          <p:spPr bwMode="auto">
            <a:xfrm>
              <a:off x="1854" y="3869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GPS</a:t>
              </a:r>
            </a:p>
          </p:txBody>
        </p:sp>
      </p:grpSp>
      <p:grpSp>
        <p:nvGrpSpPr>
          <p:cNvPr id="9250" name="Group 127"/>
          <p:cNvGrpSpPr>
            <a:grpSpLocks/>
          </p:cNvGrpSpPr>
          <p:nvPr/>
        </p:nvGrpSpPr>
        <p:grpSpPr bwMode="auto">
          <a:xfrm>
            <a:off x="2741613" y="5978525"/>
            <a:ext cx="1074737" cy="222250"/>
            <a:chOff x="1735" y="3692"/>
            <a:chExt cx="677" cy="140"/>
          </a:xfrm>
        </p:grpSpPr>
        <p:sp>
          <p:nvSpPr>
            <p:cNvPr id="9281" name="Rectangle 128"/>
            <p:cNvSpPr>
              <a:spLocks noChangeArrowheads="1"/>
            </p:cNvSpPr>
            <p:nvPr/>
          </p:nvSpPr>
          <p:spPr bwMode="auto">
            <a:xfrm>
              <a:off x="1735" y="3716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82" name="Rectangle 129"/>
            <p:cNvSpPr>
              <a:spLocks noChangeArrowheads="1"/>
            </p:cNvSpPr>
            <p:nvPr/>
          </p:nvSpPr>
          <p:spPr bwMode="auto">
            <a:xfrm>
              <a:off x="1854" y="3692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Mobile</a:t>
              </a:r>
            </a:p>
          </p:txBody>
        </p:sp>
      </p:grpSp>
      <p:grpSp>
        <p:nvGrpSpPr>
          <p:cNvPr id="9251" name="Group 130"/>
          <p:cNvGrpSpPr>
            <a:grpSpLocks/>
          </p:cNvGrpSpPr>
          <p:nvPr/>
        </p:nvGrpSpPr>
        <p:grpSpPr bwMode="auto">
          <a:xfrm>
            <a:off x="2741613" y="5781675"/>
            <a:ext cx="1074737" cy="222250"/>
            <a:chOff x="1735" y="3515"/>
            <a:chExt cx="677" cy="140"/>
          </a:xfrm>
        </p:grpSpPr>
        <p:sp>
          <p:nvSpPr>
            <p:cNvPr id="9279" name="Rectangle 131"/>
            <p:cNvSpPr>
              <a:spLocks noChangeArrowheads="1"/>
            </p:cNvSpPr>
            <p:nvPr/>
          </p:nvSpPr>
          <p:spPr bwMode="auto">
            <a:xfrm>
              <a:off x="1735" y="3539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80" name="Rectangle 132"/>
            <p:cNvSpPr>
              <a:spLocks noChangeArrowheads="1"/>
            </p:cNvSpPr>
            <p:nvPr/>
          </p:nvSpPr>
          <p:spPr bwMode="auto">
            <a:xfrm>
              <a:off x="1854" y="3515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TV</a:t>
              </a:r>
            </a:p>
          </p:txBody>
        </p:sp>
      </p:grpSp>
      <p:sp>
        <p:nvSpPr>
          <p:cNvPr id="9252" name="AutoShape 133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366838" y="5078413"/>
            <a:ext cx="1249362" cy="247650"/>
          </a:xfrm>
          <a:prstGeom prst="roundRect">
            <a:avLst>
              <a:gd name="adj" fmla="val 16667"/>
            </a:avLst>
          </a:prstGeom>
          <a:solidFill>
            <a:srgbClr val="EDEDEB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000">
                <a:cs typeface="Arial" charset="0"/>
              </a:rPr>
              <a:t>Strategic drivers</a:t>
            </a:r>
          </a:p>
        </p:txBody>
      </p:sp>
      <p:sp>
        <p:nvSpPr>
          <p:cNvPr id="9253" name="AutoShape 134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49238" y="5078413"/>
            <a:ext cx="1071562" cy="247650"/>
          </a:xfrm>
          <a:prstGeom prst="roundRect">
            <a:avLst>
              <a:gd name="adj" fmla="val 16667"/>
            </a:avLst>
          </a:prstGeom>
          <a:solidFill>
            <a:srgbClr val="EDEDEB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000">
                <a:cs typeface="Arial" charset="0"/>
              </a:rPr>
              <a:t>Bucket</a:t>
            </a:r>
          </a:p>
        </p:txBody>
      </p:sp>
      <p:sp>
        <p:nvSpPr>
          <p:cNvPr id="9254" name="AutoShape 135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779838" y="5078413"/>
            <a:ext cx="1060450" cy="247650"/>
          </a:xfrm>
          <a:prstGeom prst="roundRect">
            <a:avLst>
              <a:gd name="adj" fmla="val 16667"/>
            </a:avLst>
          </a:prstGeom>
          <a:solidFill>
            <a:srgbClr val="EDEDEB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000">
                <a:cs typeface="Arial" charset="0"/>
              </a:rPr>
              <a:t>Markets</a:t>
            </a:r>
          </a:p>
        </p:txBody>
      </p:sp>
      <p:sp>
        <p:nvSpPr>
          <p:cNvPr id="9255" name="AutoShape 136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667000" y="5076825"/>
            <a:ext cx="1060450" cy="247650"/>
          </a:xfrm>
          <a:prstGeom prst="roundRect">
            <a:avLst>
              <a:gd name="adj" fmla="val 16667"/>
            </a:avLst>
          </a:prstGeom>
          <a:solidFill>
            <a:srgbClr val="EDEDEB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lIns="54000" tIns="46791" rIns="54000" bIns="46791" anchor="ctr"/>
          <a:lstStyle/>
          <a:p>
            <a:pPr defTabSz="869950"/>
            <a:r>
              <a:rPr lang="en-GB" sz="1000">
                <a:cs typeface="Arial" charset="0"/>
              </a:rPr>
              <a:t>Platform(s)</a:t>
            </a:r>
          </a:p>
        </p:txBody>
      </p:sp>
      <p:sp>
        <p:nvSpPr>
          <p:cNvPr id="9256" name="Freeform 137"/>
          <p:cNvSpPr>
            <a:spLocks/>
          </p:cNvSpPr>
          <p:nvPr/>
        </p:nvSpPr>
        <p:spPr bwMode="auto">
          <a:xfrm>
            <a:off x="3890963" y="5349875"/>
            <a:ext cx="200025" cy="188913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7" name="Freeform 138"/>
          <p:cNvSpPr>
            <a:spLocks/>
          </p:cNvSpPr>
          <p:nvPr/>
        </p:nvSpPr>
        <p:spPr bwMode="auto">
          <a:xfrm>
            <a:off x="3890963" y="5618163"/>
            <a:ext cx="200025" cy="188912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8" name="Freeform 139"/>
          <p:cNvSpPr>
            <a:spLocks/>
          </p:cNvSpPr>
          <p:nvPr/>
        </p:nvSpPr>
        <p:spPr bwMode="auto">
          <a:xfrm>
            <a:off x="3890963" y="5873750"/>
            <a:ext cx="200025" cy="188913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59" name="Freeform 140"/>
          <p:cNvSpPr>
            <a:spLocks/>
          </p:cNvSpPr>
          <p:nvPr/>
        </p:nvSpPr>
        <p:spPr bwMode="auto">
          <a:xfrm>
            <a:off x="344488" y="5616575"/>
            <a:ext cx="200025" cy="188913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0" name="Freeform 142"/>
          <p:cNvSpPr>
            <a:spLocks/>
          </p:cNvSpPr>
          <p:nvPr/>
        </p:nvSpPr>
        <p:spPr bwMode="auto">
          <a:xfrm>
            <a:off x="1460500" y="5341938"/>
            <a:ext cx="200025" cy="188912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1" name="Freeform 143"/>
          <p:cNvSpPr>
            <a:spLocks/>
          </p:cNvSpPr>
          <p:nvPr/>
        </p:nvSpPr>
        <p:spPr bwMode="auto">
          <a:xfrm>
            <a:off x="1457325" y="5616575"/>
            <a:ext cx="200025" cy="188913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9263" name="Group 80"/>
          <p:cNvGrpSpPr>
            <a:grpSpLocks/>
          </p:cNvGrpSpPr>
          <p:nvPr/>
        </p:nvGrpSpPr>
        <p:grpSpPr bwMode="auto">
          <a:xfrm>
            <a:off x="3868738" y="5403850"/>
            <a:ext cx="1074737" cy="222250"/>
            <a:chOff x="2436" y="3163"/>
            <a:chExt cx="677" cy="140"/>
          </a:xfrm>
        </p:grpSpPr>
        <p:sp>
          <p:nvSpPr>
            <p:cNvPr id="9277" name="Rectangle 81"/>
            <p:cNvSpPr>
              <a:spLocks noChangeArrowheads="1"/>
            </p:cNvSpPr>
            <p:nvPr/>
          </p:nvSpPr>
          <p:spPr bwMode="auto">
            <a:xfrm>
              <a:off x="2436" y="3187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78" name="Rectangle 82"/>
            <p:cNvSpPr>
              <a:spLocks noChangeArrowheads="1"/>
            </p:cNvSpPr>
            <p:nvPr/>
          </p:nvSpPr>
          <p:spPr bwMode="auto">
            <a:xfrm>
              <a:off x="2555" y="3163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Belgium</a:t>
              </a:r>
            </a:p>
          </p:txBody>
        </p:sp>
      </p:grpSp>
      <p:grpSp>
        <p:nvGrpSpPr>
          <p:cNvPr id="9264" name="Group 83"/>
          <p:cNvGrpSpPr>
            <a:grpSpLocks/>
          </p:cNvGrpSpPr>
          <p:nvPr/>
        </p:nvGrpSpPr>
        <p:grpSpPr bwMode="auto">
          <a:xfrm>
            <a:off x="3868738" y="5665788"/>
            <a:ext cx="1074737" cy="222250"/>
            <a:chOff x="2436" y="3372"/>
            <a:chExt cx="677" cy="140"/>
          </a:xfrm>
        </p:grpSpPr>
        <p:sp>
          <p:nvSpPr>
            <p:cNvPr id="9275" name="Rectangle 84"/>
            <p:cNvSpPr>
              <a:spLocks noChangeArrowheads="1"/>
            </p:cNvSpPr>
            <p:nvPr/>
          </p:nvSpPr>
          <p:spPr bwMode="auto">
            <a:xfrm>
              <a:off x="2436" y="3396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76" name="Rectangle 85"/>
            <p:cNvSpPr>
              <a:spLocks noChangeArrowheads="1"/>
            </p:cNvSpPr>
            <p:nvPr/>
          </p:nvSpPr>
          <p:spPr bwMode="auto">
            <a:xfrm>
              <a:off x="2555" y="3372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Ireland</a:t>
              </a:r>
            </a:p>
          </p:txBody>
        </p:sp>
      </p:grpSp>
      <p:grpSp>
        <p:nvGrpSpPr>
          <p:cNvPr id="9266" name="Group 89"/>
          <p:cNvGrpSpPr>
            <a:grpSpLocks/>
          </p:cNvGrpSpPr>
          <p:nvPr/>
        </p:nvGrpSpPr>
        <p:grpSpPr bwMode="auto">
          <a:xfrm>
            <a:off x="3868738" y="5927725"/>
            <a:ext cx="1074737" cy="222250"/>
            <a:chOff x="2436" y="3531"/>
            <a:chExt cx="677" cy="140"/>
          </a:xfrm>
        </p:grpSpPr>
        <p:sp>
          <p:nvSpPr>
            <p:cNvPr id="9271" name="Rectangle 90"/>
            <p:cNvSpPr>
              <a:spLocks noChangeArrowheads="1"/>
            </p:cNvSpPr>
            <p:nvPr/>
          </p:nvSpPr>
          <p:spPr bwMode="auto">
            <a:xfrm>
              <a:off x="2436" y="3555"/>
              <a:ext cx="91" cy="9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endParaRPr lang="en-GB">
                <a:cs typeface="Arial" charset="0"/>
              </a:endParaRPr>
            </a:p>
          </p:txBody>
        </p:sp>
        <p:sp>
          <p:nvSpPr>
            <p:cNvPr id="9272" name="Rectangle 91"/>
            <p:cNvSpPr>
              <a:spLocks noChangeArrowheads="1"/>
            </p:cNvSpPr>
            <p:nvPr/>
          </p:nvSpPr>
          <p:spPr bwMode="auto">
            <a:xfrm>
              <a:off x="2555" y="3531"/>
              <a:ext cx="558" cy="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0" rIns="90000" bIns="0" anchor="ctr"/>
            <a:lstStyle/>
            <a:p>
              <a:pPr algn="l" eaLnBrk="1" hangingPunct="1">
                <a:spcBef>
                  <a:spcPct val="50000"/>
                </a:spcBef>
              </a:pPr>
              <a:r>
                <a:rPr lang="en-GB" sz="1000">
                  <a:cs typeface="Arial" charset="0"/>
                </a:rPr>
                <a:t>Portugal</a:t>
              </a:r>
            </a:p>
          </p:txBody>
        </p:sp>
      </p:grpSp>
      <p:sp>
        <p:nvSpPr>
          <p:cNvPr id="9267" name="Freeform 137"/>
          <p:cNvSpPr>
            <a:spLocks/>
          </p:cNvSpPr>
          <p:nvPr/>
        </p:nvSpPr>
        <p:spPr bwMode="auto">
          <a:xfrm>
            <a:off x="3892550" y="5365750"/>
            <a:ext cx="200025" cy="188913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8" name="Freeform 138"/>
          <p:cNvSpPr>
            <a:spLocks/>
          </p:cNvSpPr>
          <p:nvPr/>
        </p:nvSpPr>
        <p:spPr bwMode="auto">
          <a:xfrm>
            <a:off x="3892550" y="5634038"/>
            <a:ext cx="200025" cy="188912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69" name="Freeform 139"/>
          <p:cNvSpPr>
            <a:spLocks/>
          </p:cNvSpPr>
          <p:nvPr/>
        </p:nvSpPr>
        <p:spPr bwMode="auto">
          <a:xfrm>
            <a:off x="3892550" y="5889625"/>
            <a:ext cx="200025" cy="188913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70" name="Freeform 143"/>
          <p:cNvSpPr>
            <a:spLocks/>
          </p:cNvSpPr>
          <p:nvPr/>
        </p:nvSpPr>
        <p:spPr bwMode="auto">
          <a:xfrm>
            <a:off x="1458913" y="5878513"/>
            <a:ext cx="200025" cy="188912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9" name="Freeform 140"/>
          <p:cNvSpPr>
            <a:spLocks/>
          </p:cNvSpPr>
          <p:nvPr/>
        </p:nvSpPr>
        <p:spPr bwMode="auto">
          <a:xfrm>
            <a:off x="339876" y="6147651"/>
            <a:ext cx="200025" cy="188913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0" name="Freeform 144"/>
          <p:cNvSpPr>
            <a:spLocks/>
          </p:cNvSpPr>
          <p:nvPr/>
        </p:nvSpPr>
        <p:spPr bwMode="auto">
          <a:xfrm>
            <a:off x="2763988" y="5946910"/>
            <a:ext cx="200025" cy="188912"/>
          </a:xfrm>
          <a:custGeom>
            <a:avLst/>
            <a:gdLst>
              <a:gd name="T0" fmla="*/ 2147483647 w 2969"/>
              <a:gd name="T1" fmla="*/ 2147483647 h 2904"/>
              <a:gd name="T2" fmla="*/ 2147483647 w 2969"/>
              <a:gd name="T3" fmla="*/ 2147483647 h 2904"/>
              <a:gd name="T4" fmla="*/ 2147483647 w 2969"/>
              <a:gd name="T5" fmla="*/ 2147483647 h 2904"/>
              <a:gd name="T6" fmla="*/ 2147483647 w 2969"/>
              <a:gd name="T7" fmla="*/ 2147483647 h 2904"/>
              <a:gd name="T8" fmla="*/ 2147483647 w 2969"/>
              <a:gd name="T9" fmla="*/ 2147483647 h 2904"/>
              <a:gd name="T10" fmla="*/ 2147483647 w 2969"/>
              <a:gd name="T11" fmla="*/ 2147483647 h 2904"/>
              <a:gd name="T12" fmla="*/ 2147483647 w 2969"/>
              <a:gd name="T13" fmla="*/ 2147483647 h 2904"/>
              <a:gd name="T14" fmla="*/ 2147483647 w 2969"/>
              <a:gd name="T15" fmla="*/ 2147483647 h 2904"/>
              <a:gd name="T16" fmla="*/ 2147483647 w 2969"/>
              <a:gd name="T17" fmla="*/ 0 h 2904"/>
              <a:gd name="T18" fmla="*/ 2147483647 w 2969"/>
              <a:gd name="T19" fmla="*/ 2147483647 h 2904"/>
              <a:gd name="T20" fmla="*/ 2147483647 w 2969"/>
              <a:gd name="T21" fmla="*/ 2147483647 h 2904"/>
              <a:gd name="T22" fmla="*/ 2147483647 w 2969"/>
              <a:gd name="T23" fmla="*/ 2147483647 h 2904"/>
              <a:gd name="T24" fmla="*/ 2147483647 w 2969"/>
              <a:gd name="T25" fmla="*/ 2147483647 h 2904"/>
              <a:gd name="T26" fmla="*/ 2147483647 w 2969"/>
              <a:gd name="T27" fmla="*/ 2147483647 h 2904"/>
              <a:gd name="T28" fmla="*/ 2147483647 w 2969"/>
              <a:gd name="T29" fmla="*/ 2147483647 h 2904"/>
              <a:gd name="T30" fmla="*/ 2147483647 w 2969"/>
              <a:gd name="T31" fmla="*/ 2147483647 h 2904"/>
              <a:gd name="T32" fmla="*/ 2147483647 w 2969"/>
              <a:gd name="T33" fmla="*/ 2147483647 h 2904"/>
              <a:gd name="T34" fmla="*/ 2147483647 w 2969"/>
              <a:gd name="T35" fmla="*/ 2147483647 h 2904"/>
              <a:gd name="T36" fmla="*/ 2147483647 w 2969"/>
              <a:gd name="T37" fmla="*/ 2147483647 h 2904"/>
              <a:gd name="T38" fmla="*/ 2147483647 w 2969"/>
              <a:gd name="T39" fmla="*/ 2147483647 h 2904"/>
              <a:gd name="T40" fmla="*/ 2147483647 w 2969"/>
              <a:gd name="T41" fmla="*/ 2147483647 h 2904"/>
              <a:gd name="T42" fmla="*/ 2147483647 w 2969"/>
              <a:gd name="T43" fmla="*/ 2147483647 h 2904"/>
              <a:gd name="T44" fmla="*/ 2147483647 w 2969"/>
              <a:gd name="T45" fmla="*/ 2147483647 h 2904"/>
              <a:gd name="T46" fmla="*/ 2147483647 w 2969"/>
              <a:gd name="T47" fmla="*/ 2147483647 h 2904"/>
              <a:gd name="T48" fmla="*/ 2147483647 w 2969"/>
              <a:gd name="T49" fmla="*/ 2147483647 h 2904"/>
              <a:gd name="T50" fmla="*/ 0 w 2969"/>
              <a:gd name="T51" fmla="*/ 2147483647 h 2904"/>
              <a:gd name="T52" fmla="*/ 2147483647 w 2969"/>
              <a:gd name="T53" fmla="*/ 2147483647 h 2904"/>
              <a:gd name="T54" fmla="*/ 2147483647 w 2969"/>
              <a:gd name="T55" fmla="*/ 2147483647 h 2904"/>
              <a:gd name="T56" fmla="*/ 2147483647 w 2969"/>
              <a:gd name="T57" fmla="*/ 2147483647 h 2904"/>
              <a:gd name="T58" fmla="*/ 2147483647 w 2969"/>
              <a:gd name="T59" fmla="*/ 2147483647 h 2904"/>
              <a:gd name="T60" fmla="*/ 2147483647 w 2969"/>
              <a:gd name="T61" fmla="*/ 2147483647 h 2904"/>
              <a:gd name="T62" fmla="*/ 2147483647 w 2969"/>
              <a:gd name="T63" fmla="*/ 2147483647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oduct – what it is (Yellow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50826" y="2369816"/>
            <a:ext cx="4156114" cy="4029820"/>
          </a:xfrm>
        </p:spPr>
        <p:txBody>
          <a:bodyPr/>
          <a:lstStyle/>
          <a:p>
            <a:r>
              <a:rPr lang="nl-BE" sz="1600" dirty="0" smtClean="0"/>
              <a:t>Banners are a stand-alone item (not bundled), sold on a pay per inclusion logic:</a:t>
            </a:r>
          </a:p>
          <a:p>
            <a:pPr lvl="1"/>
            <a:r>
              <a:rPr lang="nl-BE" sz="1400" dirty="0" smtClean="0"/>
              <a:t>There are three available slots for each targeting option </a:t>
            </a:r>
          </a:p>
          <a:p>
            <a:pPr lvl="2"/>
            <a:r>
              <a:rPr lang="nl-BE" sz="1100" dirty="0" smtClean="0"/>
              <a:t>Home Page</a:t>
            </a:r>
          </a:p>
          <a:p>
            <a:pPr lvl="2"/>
            <a:r>
              <a:rPr lang="nl-BE" sz="1100" dirty="0" smtClean="0"/>
              <a:t># Headings</a:t>
            </a:r>
          </a:p>
          <a:p>
            <a:pPr lvl="2"/>
            <a:r>
              <a:rPr lang="nl-BE" sz="1100" dirty="0" smtClean="0"/>
              <a:t># Headings </a:t>
            </a:r>
            <a:r>
              <a:rPr lang="nl-BE" sz="1100" dirty="0"/>
              <a:t>+ </a:t>
            </a:r>
            <a:r>
              <a:rPr lang="nl-BE" sz="1100" dirty="0" smtClean="0"/>
              <a:t># Geographies</a:t>
            </a:r>
          </a:p>
          <a:p>
            <a:pPr lvl="1"/>
            <a:r>
              <a:rPr lang="nl-BE" sz="1400" dirty="0" smtClean="0"/>
              <a:t>Banners will rotate to take same proportion of visibility/ views</a:t>
            </a:r>
          </a:p>
          <a:p>
            <a:pPr lvl="2"/>
            <a:r>
              <a:rPr lang="nl-BE" sz="1100" dirty="0" smtClean="0"/>
              <a:t>1 banner </a:t>
            </a:r>
            <a:r>
              <a:rPr lang="nl-BE" sz="1100" dirty="0" smtClean="0">
                <a:sym typeface="Wingdings" pitchFamily="2" charset="2"/>
              </a:rPr>
              <a:t> 100% views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2 banners  each banner will take 50% views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3 banners  </a:t>
            </a:r>
            <a:r>
              <a:rPr lang="nl-BE" sz="1100" dirty="0">
                <a:sym typeface="Wingdings" pitchFamily="2" charset="2"/>
              </a:rPr>
              <a:t>each banner will take </a:t>
            </a:r>
            <a:r>
              <a:rPr lang="nl-BE" sz="1100" dirty="0" smtClean="0">
                <a:sym typeface="Wingdings" pitchFamily="2" charset="2"/>
              </a:rPr>
              <a:t>33% view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85489639"/>
              </p:ext>
            </p:extLst>
          </p:nvPr>
        </p:nvGraphicFramePr>
        <p:xfrm>
          <a:off x="350489" y="692696"/>
          <a:ext cx="9283032" cy="14376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16191"/>
                <a:gridCol w="2925325"/>
                <a:gridCol w="1365152"/>
                <a:gridCol w="3276364"/>
              </a:tblGrid>
              <a:tr h="370840">
                <a:tc>
                  <a:txBody>
                    <a:bodyPr/>
                    <a:lstStyle/>
                    <a:p>
                      <a:r>
                        <a:rPr lang="nl-BE" dirty="0" smtClean="0"/>
                        <a:t>Placement</a:t>
                      </a:r>
                      <a:endParaRPr 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dirty="0" smtClean="0"/>
                        <a:t>Targeting</a:t>
                      </a:r>
                      <a:endParaRPr 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dirty="0" smtClean="0"/>
                        <a:t>Format</a:t>
                      </a:r>
                      <a:endParaRPr 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dirty="0" smtClean="0"/>
                        <a:t>Link to</a:t>
                      </a:r>
                      <a:endParaRPr lang="en-US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Home Page</a:t>
                      </a:r>
                      <a:endParaRPr 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Home Page</a:t>
                      </a:r>
                      <a:endParaRPr 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168</a:t>
                      </a:r>
                      <a:r>
                        <a:rPr lang="nl-BE" sz="1600" baseline="0" dirty="0" smtClean="0"/>
                        <a:t> x 28</a:t>
                      </a:r>
                      <a:endParaRPr lang="en-US" sz="1600" dirty="0"/>
                    </a:p>
                  </a:txBody>
                  <a:tcPr marL="99060" marR="99060"/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dirty="0" smtClean="0"/>
                        <a:t>Landing Page</a:t>
                      </a:r>
                      <a:r>
                        <a:rPr lang="nl-BE" sz="1600" baseline="0" dirty="0" smtClean="0"/>
                        <a:t> (Yellow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My Site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Customer’s mobile website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Click to call </a:t>
                      </a:r>
                      <a:endParaRPr lang="en-US" sz="1600" dirty="0"/>
                    </a:p>
                  </a:txBody>
                  <a:tcPr marL="99060" marR="99060" anchor="ctr" anchorCtr="1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Results Page</a:t>
                      </a:r>
                      <a:endParaRPr 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Heading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Heading + Geography</a:t>
                      </a:r>
                      <a:endParaRPr 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168</a:t>
                      </a:r>
                      <a:r>
                        <a:rPr lang="nl-BE" sz="1600" baseline="0" dirty="0" smtClean="0"/>
                        <a:t> x 28</a:t>
                      </a:r>
                      <a:endParaRPr lang="en-US" sz="1600" dirty="0"/>
                    </a:p>
                  </a:txBody>
                  <a:tcPr marL="99060" marR="99060"/>
                </a:tc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ounded Rectangle 4"/>
          <p:cNvSpPr/>
          <p:nvPr/>
        </p:nvSpPr>
        <p:spPr bwMode="auto">
          <a:xfrm>
            <a:off x="4931346" y="2370948"/>
            <a:ext cx="4546157" cy="1080120"/>
          </a:xfrm>
          <a:prstGeom prst="roundRect">
            <a:avLst>
              <a:gd name="adj" fmla="val 5996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2"/>
              </a:buBlip>
              <a:tabLst/>
            </a:pPr>
            <a:r>
              <a:rPr kumimoji="0" lang="nl-BE" sz="1400" b="0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Business model is based on a pay per inclusion as a starting point</a:t>
            </a:r>
            <a:endParaRPr lang="nl-BE" sz="1400" dirty="0">
              <a:solidFill>
                <a:srgbClr val="4D4D4D"/>
              </a:solidFill>
              <a:latin typeface="Arial" charset="0"/>
            </a:endParaRPr>
          </a:p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2"/>
              </a:buBlip>
              <a:tabLst/>
            </a:pPr>
            <a:r>
              <a:rPr kumimoji="0" lang="nl-BE" sz="1400" b="0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As mobile</a:t>
            </a:r>
            <a:r>
              <a:rPr kumimoji="0" lang="nl-BE" sz="1400" b="0" i="0" u="none" strike="noStrike" cap="none" normalizeH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 traffic goes up, inventory monetization might develop towards a CPM logic</a:t>
            </a: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4931345" y="3861048"/>
            <a:ext cx="4702175" cy="2312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287338" indent="-28733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SzPct val="70000"/>
              <a:buBlip>
                <a:blip r:embed="rId3"/>
              </a:buBlip>
              <a:defRPr sz="2200">
                <a:solidFill>
                  <a:srgbClr val="4D4D4D"/>
                </a:solidFill>
                <a:latin typeface="+mn-lt"/>
                <a:ea typeface="Geneva" charset="-128"/>
                <a:cs typeface="Geneva" charset="-128"/>
              </a:defRPr>
            </a:lvl1pPr>
            <a:lvl2pPr marL="592138" indent="-3032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Pct val="70000"/>
              <a:buBlip>
                <a:blip r:embed="rId4"/>
              </a:buBlip>
              <a:defRPr sz="1900">
                <a:solidFill>
                  <a:srgbClr val="4D4D4D"/>
                </a:solidFill>
                <a:latin typeface="+mn-lt"/>
                <a:ea typeface="ヒラギノ角ゴ Pro W3" pitchFamily="-109" charset="-128"/>
                <a:cs typeface="ヒラギノ角ゴ Pro W3" pitchFamily="-109" charset="-128"/>
              </a:defRPr>
            </a:lvl2pPr>
            <a:lvl3pPr marL="871538" indent="-2778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70000"/>
              <a:buBlip>
                <a:blip r:embed="rId5"/>
              </a:buBlip>
              <a:defRPr sz="1600">
                <a:solidFill>
                  <a:schemeClr val="tx2"/>
                </a:solidFill>
                <a:latin typeface="+mn-lt"/>
                <a:ea typeface="ヒラギノ角ゴ Pro W3" pitchFamily="-109" charset="-128"/>
                <a:cs typeface="ＭＳ Ｐゴシック" pitchFamily="-110" charset="-128"/>
              </a:defRPr>
            </a:lvl3pPr>
            <a:lvl4pPr marL="1143000" indent="-269875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3"/>
              </a:buBlip>
              <a:defRPr sz="1600">
                <a:solidFill>
                  <a:schemeClr val="tx2"/>
                </a:solidFill>
                <a:latin typeface="+mn-lt"/>
                <a:ea typeface="ヒラギノ角ゴ Pro W3" pitchFamily="-109" charset="-128"/>
                <a:cs typeface="ＭＳ Ｐゴシック" pitchFamily="-109" charset="-128"/>
              </a:defRPr>
            </a:lvl4pPr>
            <a:lvl5pPr marL="14097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5"/>
              </a:buBlip>
              <a:defRPr sz="1600">
                <a:solidFill>
                  <a:schemeClr val="tx2"/>
                </a:solidFill>
                <a:latin typeface="+mn-lt"/>
                <a:ea typeface="ヒラギノ角ゴ Pro W3" pitchFamily="-109" charset="-128"/>
                <a:cs typeface="ヒラギノ角ゴ Pro W3" pitchFamily="-109" charset="-128"/>
              </a:defRPr>
            </a:lvl5pPr>
            <a:lvl6pPr marL="18669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6pPr>
            <a:lvl7pPr marL="23241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7pPr>
            <a:lvl8pPr marL="27813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8pPr>
            <a:lvl9pPr marL="32385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nl-BE" sz="1700" dirty="0" smtClean="0">
                <a:sym typeface="Wingdings" pitchFamily="2" charset="2"/>
              </a:rPr>
              <a:t>Timing</a:t>
            </a:r>
          </a:p>
          <a:p>
            <a:pPr lvl="1"/>
            <a:r>
              <a:rPr lang="nl-BE" sz="1400" dirty="0" smtClean="0">
                <a:sym typeface="Wingdings" pitchFamily="2" charset="2"/>
              </a:rPr>
              <a:t>The period of campaign is flexible</a:t>
            </a:r>
          </a:p>
          <a:p>
            <a:pPr lvl="1"/>
            <a:r>
              <a:rPr lang="nl-BE" sz="1400" dirty="0" smtClean="0">
                <a:sym typeface="Wingdings" pitchFamily="2" charset="2"/>
              </a:rPr>
              <a:t>Prices per inclusion are monthly to enable: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Monthly campaigns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Campaigns covering multiple months (3 month or 1 year)</a:t>
            </a:r>
          </a:p>
          <a:p>
            <a:pPr lvl="2"/>
            <a:endParaRPr lang="nl-BE" sz="1100" dirty="0">
              <a:sym typeface="Wingdings" pitchFamily="2" charset="2"/>
            </a:endParaRPr>
          </a:p>
          <a:p>
            <a:r>
              <a:rPr lang="nl-BE" sz="1700" dirty="0" smtClean="0">
                <a:sym typeface="Wingdings" pitchFamily="2" charset="2"/>
              </a:rPr>
              <a:t>Scope</a:t>
            </a:r>
          </a:p>
          <a:p>
            <a:pPr lvl="1"/>
            <a:r>
              <a:rPr lang="nl-BE" sz="1000" dirty="0" smtClean="0">
                <a:sym typeface="Wingdings" pitchFamily="2" charset="2"/>
              </a:rPr>
              <a:t>The campaigns will be displayed in all Ymobile platforms ‘Mdot</a:t>
            </a:r>
            <a:r>
              <a:rPr lang="nl-BE" sz="1000" dirty="0">
                <a:sym typeface="Wingdings" pitchFamily="2" charset="2"/>
              </a:rPr>
              <a:t> </a:t>
            </a:r>
            <a:r>
              <a:rPr lang="nl-BE" sz="1000" dirty="0" smtClean="0">
                <a:sym typeface="Wingdings" pitchFamily="2" charset="2"/>
              </a:rPr>
              <a:t>/ Iphone</a:t>
            </a:r>
            <a:r>
              <a:rPr lang="nl-BE" sz="1000" dirty="0">
                <a:sym typeface="Wingdings" pitchFamily="2" charset="2"/>
              </a:rPr>
              <a:t> </a:t>
            </a:r>
            <a:r>
              <a:rPr lang="nl-BE" sz="1000" dirty="0" smtClean="0">
                <a:sym typeface="Wingdings" pitchFamily="2" charset="2"/>
              </a:rPr>
              <a:t>/ Ipad</a:t>
            </a:r>
            <a:r>
              <a:rPr lang="nl-BE" sz="1000" dirty="0">
                <a:sym typeface="Wingdings" pitchFamily="2" charset="2"/>
              </a:rPr>
              <a:t> </a:t>
            </a:r>
            <a:r>
              <a:rPr lang="nl-BE" sz="1000" dirty="0" smtClean="0">
                <a:sym typeface="Wingdings" pitchFamily="2" charset="2"/>
              </a:rPr>
              <a:t>/ Android </a:t>
            </a:r>
            <a:endParaRPr lang="nl-BE" sz="10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3393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oduct – what it is (White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2480" y="2645494"/>
            <a:ext cx="4446494" cy="3087762"/>
          </a:xfrm>
        </p:spPr>
        <p:txBody>
          <a:bodyPr/>
          <a:lstStyle/>
          <a:p>
            <a:r>
              <a:rPr lang="nl-BE" sz="1600" dirty="0" smtClean="0"/>
              <a:t>Banners are a stand-alone item (not bundled), sold on a pay per inclusion logic:</a:t>
            </a:r>
          </a:p>
          <a:p>
            <a:pPr lvl="1"/>
            <a:r>
              <a:rPr lang="nl-BE" sz="1400" dirty="0" smtClean="0"/>
              <a:t>There are three available slots for each targeting option </a:t>
            </a:r>
          </a:p>
          <a:p>
            <a:pPr lvl="2"/>
            <a:r>
              <a:rPr lang="nl-BE" sz="1100" dirty="0" smtClean="0"/>
              <a:t>Home Page</a:t>
            </a:r>
          </a:p>
          <a:p>
            <a:pPr lvl="2"/>
            <a:r>
              <a:rPr lang="nl-BE" sz="1100" dirty="0" smtClean="0"/>
              <a:t>Result Page</a:t>
            </a:r>
          </a:p>
          <a:p>
            <a:pPr marL="593725" lvl="2" indent="0">
              <a:buNone/>
            </a:pPr>
            <a:endParaRPr lang="nl-BE" sz="1100" dirty="0" smtClean="0"/>
          </a:p>
          <a:p>
            <a:pPr lvl="1"/>
            <a:r>
              <a:rPr lang="nl-BE" sz="1400" dirty="0" smtClean="0"/>
              <a:t>Banners will rotate to take same proportion of visibility/ views</a:t>
            </a:r>
          </a:p>
          <a:p>
            <a:pPr lvl="2"/>
            <a:r>
              <a:rPr lang="nl-BE" sz="1100" dirty="0" smtClean="0"/>
              <a:t>1 banner </a:t>
            </a:r>
            <a:r>
              <a:rPr lang="nl-BE" sz="1100" dirty="0" smtClean="0">
                <a:sym typeface="Wingdings" pitchFamily="2" charset="2"/>
              </a:rPr>
              <a:t> 100% views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2 banners  each banner will take 50% views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3 banners  </a:t>
            </a:r>
            <a:r>
              <a:rPr lang="nl-BE" sz="1100" dirty="0">
                <a:sym typeface="Wingdings" pitchFamily="2" charset="2"/>
              </a:rPr>
              <a:t>each banner will take </a:t>
            </a:r>
            <a:r>
              <a:rPr lang="nl-BE" sz="1100" dirty="0" smtClean="0">
                <a:sym typeface="Wingdings" pitchFamily="2" charset="2"/>
              </a:rPr>
              <a:t>33% view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22269008"/>
              </p:ext>
            </p:extLst>
          </p:nvPr>
        </p:nvGraphicFramePr>
        <p:xfrm>
          <a:off x="350489" y="692696"/>
          <a:ext cx="9283032" cy="156464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716191"/>
                <a:gridCol w="2925325"/>
                <a:gridCol w="1365152"/>
                <a:gridCol w="3276364"/>
              </a:tblGrid>
              <a:tr h="370840">
                <a:tc>
                  <a:txBody>
                    <a:bodyPr/>
                    <a:lstStyle/>
                    <a:p>
                      <a:r>
                        <a:rPr lang="nl-BE" dirty="0" smtClean="0"/>
                        <a:t>Placement</a:t>
                      </a:r>
                      <a:endParaRPr 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dirty="0" smtClean="0"/>
                        <a:t>Targeting</a:t>
                      </a:r>
                      <a:endParaRPr 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dirty="0" smtClean="0"/>
                        <a:t>Format</a:t>
                      </a:r>
                      <a:endParaRPr 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dirty="0" smtClean="0"/>
                        <a:t>Link to</a:t>
                      </a:r>
                      <a:endParaRPr lang="en-US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Home Page</a:t>
                      </a:r>
                      <a:endParaRPr 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Home Page</a:t>
                      </a:r>
                      <a:endParaRPr 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168</a:t>
                      </a:r>
                      <a:r>
                        <a:rPr lang="nl-BE" sz="1600" baseline="0" dirty="0" smtClean="0"/>
                        <a:t> x 28</a:t>
                      </a:r>
                      <a:endParaRPr lang="en-US" sz="1600" dirty="0"/>
                    </a:p>
                  </a:txBody>
                  <a:tcPr marL="99060" marR="99060"/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dirty="0" smtClean="0"/>
                        <a:t>Landing Page</a:t>
                      </a:r>
                      <a:r>
                        <a:rPr lang="nl-BE" sz="1600" baseline="0" dirty="0" smtClean="0"/>
                        <a:t> (Yellow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My Site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Customer’s mobile website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Click to call </a:t>
                      </a:r>
                      <a:endParaRPr lang="en-US" sz="1600" dirty="0"/>
                    </a:p>
                  </a:txBody>
                  <a:tcPr marL="99060" marR="99060" anchor="ctr" anchorCtr="1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Results Page</a:t>
                      </a:r>
                      <a:endParaRPr 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r>
                        <a:rPr lang="nl-BE" sz="1600" baseline="0" dirty="0" smtClean="0"/>
                        <a:t>Geography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nl-BE" sz="1600" baseline="0" dirty="0" smtClean="0"/>
                        <a:t>Zone (BE), District(PT) or County (IE)</a:t>
                      </a: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1600" dirty="0" smtClean="0"/>
                        <a:t>168</a:t>
                      </a:r>
                      <a:r>
                        <a:rPr lang="nl-BE" sz="1600" baseline="0" dirty="0" smtClean="0"/>
                        <a:t> x 28</a:t>
                      </a:r>
                      <a:endParaRPr lang="en-US" sz="1600" dirty="0"/>
                    </a:p>
                  </a:txBody>
                  <a:tcPr marL="99060" marR="99060"/>
                </a:tc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ounded Rectangle 4"/>
          <p:cNvSpPr/>
          <p:nvPr/>
        </p:nvSpPr>
        <p:spPr bwMode="auto">
          <a:xfrm>
            <a:off x="394459" y="5661248"/>
            <a:ext cx="4546157" cy="1080120"/>
          </a:xfrm>
          <a:prstGeom prst="roundRect">
            <a:avLst>
              <a:gd name="adj" fmla="val 5996"/>
            </a:avLst>
          </a:prstGeom>
          <a:ln>
            <a:solidFill>
              <a:schemeClr val="accent1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2"/>
              </a:buBlip>
              <a:tabLst/>
            </a:pPr>
            <a:r>
              <a:rPr kumimoji="0" lang="nl-BE" sz="1400" b="0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Business model is based on a pay per inclusion as a starting point</a:t>
            </a:r>
            <a:endParaRPr lang="nl-BE" sz="1400" dirty="0">
              <a:solidFill>
                <a:srgbClr val="4D4D4D"/>
              </a:solidFill>
              <a:latin typeface="Arial" charset="0"/>
            </a:endParaRPr>
          </a:p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2"/>
              </a:buBlip>
              <a:tabLst/>
            </a:pPr>
            <a:r>
              <a:rPr kumimoji="0" lang="nl-BE" sz="1400" b="0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As mobile</a:t>
            </a:r>
            <a:r>
              <a:rPr kumimoji="0" lang="nl-BE" sz="1400" b="0" i="0" u="none" strike="noStrike" cap="none" normalizeH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</a:rPr>
              <a:t> traffic goes up, inventory monetization might develop towards a CPM logic</a:t>
            </a: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4940616" y="2636912"/>
            <a:ext cx="4702175" cy="2312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287338" indent="-28733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SzPct val="70000"/>
              <a:buBlip>
                <a:blip r:embed="rId3"/>
              </a:buBlip>
              <a:defRPr sz="2200">
                <a:solidFill>
                  <a:srgbClr val="4D4D4D"/>
                </a:solidFill>
                <a:latin typeface="+mn-lt"/>
                <a:ea typeface="Geneva" charset="-128"/>
                <a:cs typeface="Geneva" charset="-128"/>
              </a:defRPr>
            </a:lvl1pPr>
            <a:lvl2pPr marL="592138" indent="-3032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Pct val="70000"/>
              <a:buBlip>
                <a:blip r:embed="rId4"/>
              </a:buBlip>
              <a:defRPr sz="1900">
                <a:solidFill>
                  <a:srgbClr val="4D4D4D"/>
                </a:solidFill>
                <a:latin typeface="+mn-lt"/>
                <a:ea typeface="ヒラギノ角ゴ Pro W3" pitchFamily="-109" charset="-128"/>
                <a:cs typeface="ヒラギノ角ゴ Pro W3" pitchFamily="-109" charset="-128"/>
              </a:defRPr>
            </a:lvl2pPr>
            <a:lvl3pPr marL="871538" indent="-2778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70000"/>
              <a:buBlip>
                <a:blip r:embed="rId5"/>
              </a:buBlip>
              <a:defRPr sz="1600">
                <a:solidFill>
                  <a:schemeClr val="tx2"/>
                </a:solidFill>
                <a:latin typeface="+mn-lt"/>
                <a:ea typeface="ヒラギノ角ゴ Pro W3" pitchFamily="-109" charset="-128"/>
                <a:cs typeface="ＭＳ Ｐゴシック" pitchFamily="-110" charset="-128"/>
              </a:defRPr>
            </a:lvl3pPr>
            <a:lvl4pPr marL="1143000" indent="-269875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3"/>
              </a:buBlip>
              <a:defRPr sz="1600">
                <a:solidFill>
                  <a:schemeClr val="tx2"/>
                </a:solidFill>
                <a:latin typeface="+mn-lt"/>
                <a:ea typeface="ヒラギノ角ゴ Pro W3" pitchFamily="-109" charset="-128"/>
                <a:cs typeface="ＭＳ Ｐゴシック" pitchFamily="-109" charset="-128"/>
              </a:defRPr>
            </a:lvl4pPr>
            <a:lvl5pPr marL="14097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5"/>
              </a:buBlip>
              <a:defRPr sz="1600">
                <a:solidFill>
                  <a:schemeClr val="tx2"/>
                </a:solidFill>
                <a:latin typeface="+mn-lt"/>
                <a:ea typeface="ヒラギノ角ゴ Pro W3" pitchFamily="-109" charset="-128"/>
                <a:cs typeface="ヒラギノ角ゴ Pro W3" pitchFamily="-109" charset="-128"/>
              </a:defRPr>
            </a:lvl5pPr>
            <a:lvl6pPr marL="18669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6pPr>
            <a:lvl7pPr marL="23241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7pPr>
            <a:lvl8pPr marL="27813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8pPr>
            <a:lvl9pPr marL="3238500" indent="-2651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SzPct val="60000"/>
              <a:buBlip>
                <a:blip r:embed="rId6"/>
              </a:buBlip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nl-BE" sz="1700" dirty="0" smtClean="0">
                <a:sym typeface="Wingdings" pitchFamily="2" charset="2"/>
              </a:rPr>
              <a:t>Timing</a:t>
            </a:r>
          </a:p>
          <a:p>
            <a:pPr lvl="1"/>
            <a:r>
              <a:rPr lang="nl-BE" sz="1400" dirty="0" smtClean="0">
                <a:sym typeface="Wingdings" pitchFamily="2" charset="2"/>
              </a:rPr>
              <a:t>The period of campaign is flexible</a:t>
            </a:r>
          </a:p>
          <a:p>
            <a:pPr lvl="1"/>
            <a:r>
              <a:rPr lang="nl-BE" sz="1400" dirty="0" smtClean="0">
                <a:sym typeface="Wingdings" pitchFamily="2" charset="2"/>
              </a:rPr>
              <a:t>Prices per inclusion are monthly to enable: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Monthly </a:t>
            </a:r>
            <a:r>
              <a:rPr lang="nl-BE" sz="1100" dirty="0">
                <a:sym typeface="Wingdings" pitchFamily="2" charset="2"/>
              </a:rPr>
              <a:t>campaigns</a:t>
            </a:r>
          </a:p>
          <a:p>
            <a:pPr lvl="2"/>
            <a:r>
              <a:rPr lang="nl-BE" sz="1100" dirty="0">
                <a:sym typeface="Wingdings" pitchFamily="2" charset="2"/>
              </a:rPr>
              <a:t>Campaigns covering multiple months </a:t>
            </a:r>
          </a:p>
          <a:p>
            <a:pPr lvl="2"/>
            <a:endParaRPr lang="nl-BE" sz="1100" dirty="0">
              <a:sym typeface="Wingdings" pitchFamily="2" charset="2"/>
            </a:endParaRPr>
          </a:p>
          <a:p>
            <a:r>
              <a:rPr lang="nl-BE" sz="1700" dirty="0" smtClean="0">
                <a:sym typeface="Wingdings" pitchFamily="2" charset="2"/>
              </a:rPr>
              <a:t>Scope</a:t>
            </a:r>
          </a:p>
          <a:p>
            <a:pPr lvl="1"/>
            <a:r>
              <a:rPr lang="nl-BE" sz="1400" dirty="0" smtClean="0">
                <a:sym typeface="Wingdings" pitchFamily="2" charset="2"/>
              </a:rPr>
              <a:t>The campaigns will be displayed in all Wmobile platforms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Mdot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Iphone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Ipad</a:t>
            </a:r>
          </a:p>
          <a:p>
            <a:pPr lvl="2"/>
            <a:r>
              <a:rPr lang="nl-BE" sz="1100" dirty="0" smtClean="0">
                <a:sym typeface="Wingdings" pitchFamily="2" charset="2"/>
              </a:rPr>
              <a:t>Android </a:t>
            </a:r>
            <a:endParaRPr lang="nl-BE" sz="11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072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lacement</a:t>
            </a:r>
            <a:endParaRPr lang="en-US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25764" y="1196752"/>
            <a:ext cx="2603167" cy="5244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29984" y="1195541"/>
            <a:ext cx="2577389" cy="5309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263010" y="6093296"/>
            <a:ext cx="9941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dirty="0" smtClean="0"/>
              <a:t>Home Pag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241452" y="6093296"/>
            <a:ext cx="10967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dirty="0" smtClean="0"/>
              <a:t>Results Page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1608750" y="3573016"/>
            <a:ext cx="2837193" cy="936104"/>
          </a:xfrm>
          <a:prstGeom prst="round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4"/>
              </a:buBlip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5600082" y="1988840"/>
            <a:ext cx="2837193" cy="936104"/>
          </a:xfrm>
          <a:prstGeom prst="round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287338" marR="0" indent="-28733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80000"/>
              </a:spcAft>
              <a:buClrTx/>
              <a:buSzPct val="70000"/>
              <a:buFontTx/>
              <a:buBlip>
                <a:blip r:embed="rId4"/>
              </a:buBlip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5917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8&quot;&gt;&lt;elem&gt;&lt;m_ppcolschidx val=&quot;0&quot;/&gt;&lt;m_rgb r=&quot;ed&quot; g=&quot;76&quot; b=&quot;19&quot;/&gt;&lt;/elem&gt;&lt;elem&gt;&lt;m_ppcolschidx val=&quot;0&quot;/&gt;&lt;m_rgb r=&quot;b4&quot; g=&quot;76&quot; b=&quot;af&quot;/&gt;&lt;/elem&gt;&lt;elem&gt;&lt;m_ppcolschidx val=&quot;0&quot;/&gt;&lt;m_rgb r=&quot;5f&quot; g=&quot;c4&quot; b=&quot;f0&quot;/&gt;&lt;/elem&gt;&lt;elem&gt;&lt;m_ppcolschidx val=&quot;0&quot;/&gt;&lt;m_rgb r=&quot;bd&quot; g=&quot;d1&quot; b=&quot;3f&quot;/&gt;&lt;/elem&gt;&lt;elem&gt;&lt;m_ppcolschidx val=&quot;0&quot;/&gt;&lt;m_rgb r=&quot;0&quot; g=&quot;66&quot; b=&quot;ff&quot;/&gt;&lt;/elem&gt;&lt;elem&gt;&lt;m_ppcolschidx val=&quot;0&quot;/&gt;&lt;m_rgb r=&quot;ff&quot; g=&quot;cc&quot; b=&quot;0&quot;/&gt;&lt;/elem&gt;&lt;elem&gt;&lt;m_ppcolschidx val=&quot;0&quot;/&gt;&lt;m_rgb r=&quot;0&quot; g=&quot;80&quot; b=&quot;0&quot;/&gt;&lt;/elem&gt;&lt;elem&gt;&lt;m_ppcolschidx val=&quot;0&quot;/&gt;&lt;m_rgb r=&quot;80&quot; g=&quot;0&quot; b=&quot;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OFFICE" val="Brussels"/>
  <p:tag name="THINKCELLUNDODONOTDELETE" val="26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.mG0N.xEiTChiac87t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rQ8buOokm0ifwQaCTfF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BKKeYz8EyK8pqMb3xJz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BKKeYz8EyK8pqMb3xJz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yStqs9VECnAopGw5Hi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XHJ6iIUSw8IOU.uB5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x.V5oVHU6OxQVyoL6b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aiFzEiVkemLaRZFPvJ4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qzPaRVZEa8RXGSwimr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99AwDxM0yCrL.8KYWv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KZAKHgUicooBeEtY7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upJDLQkSWz.EqG63o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BKKeYz8EyK8pqMb3xJ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5xcRDOLk2QJi_exlazb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ncaL_wU2iYM2VizBu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ikI346xUCNtYnqejpN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BKKeYz8EyK8pqMb3xJ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T9xm7zu0eg.czzM5Avh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acNtDYS0yC9f0BksdN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BKKeYz8EyK8pqMb3xJ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BKKeYz8EyK8pqMb3xJ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H8IY_ReEKONrlbvf_hN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bvrDR70az0.qAGzsMgw"/>
</p:tagLst>
</file>

<file path=ppt/theme/theme1.xml><?xml version="1.0" encoding="utf-8"?>
<a:theme xmlns:a="http://schemas.openxmlformats.org/drawingml/2006/main" name="Truvo_internal_A4_template_PC">
  <a:themeElements>
    <a:clrScheme name="Truvo_internal_A4_template_PC 1">
      <a:dk1>
        <a:srgbClr val="616065"/>
      </a:dk1>
      <a:lt1>
        <a:srgbClr val="FFFFFF"/>
      </a:lt1>
      <a:dk2>
        <a:srgbClr val="000000"/>
      </a:dk2>
      <a:lt2>
        <a:srgbClr val="DCDCD8"/>
      </a:lt2>
      <a:accent1>
        <a:srgbClr val="F6AA00"/>
      </a:accent1>
      <a:accent2>
        <a:srgbClr val="5FC4F0"/>
      </a:accent2>
      <a:accent3>
        <a:srgbClr val="FFFFFF"/>
      </a:accent3>
      <a:accent4>
        <a:srgbClr val="525155"/>
      </a:accent4>
      <a:accent5>
        <a:srgbClr val="FAD2AA"/>
      </a:accent5>
      <a:accent6>
        <a:srgbClr val="55B1D9"/>
      </a:accent6>
      <a:hlink>
        <a:srgbClr val="ED7619"/>
      </a:hlink>
      <a:folHlink>
        <a:srgbClr val="BDD13F"/>
      </a:folHlink>
    </a:clrScheme>
    <a:fontScheme name="Truvo_internal_A4_template_P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54000" tIns="46791" rIns="54000" bIns="46791" numCol="1" anchor="ctr" anchorCtr="0" compatLnSpc="1">
        <a:prstTxWarp prst="textNoShape">
          <a:avLst/>
        </a:prstTxWarp>
      </a:bodyPr>
      <a:lstStyle>
        <a:defPPr marL="0" marR="0" indent="0" algn="ctr" defTabSz="8699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54000" tIns="46791" rIns="54000" bIns="46791" numCol="1" anchor="ctr" anchorCtr="0" compatLnSpc="1">
        <a:prstTxWarp prst="textNoShape">
          <a:avLst/>
        </a:prstTxWarp>
      </a:bodyPr>
      <a:lstStyle>
        <a:defPPr marL="0" marR="0" indent="0" algn="ctr" defTabSz="8699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ruvo_internal_A4_template_PC 1">
        <a:dk1>
          <a:srgbClr val="616065"/>
        </a:dk1>
        <a:lt1>
          <a:srgbClr val="FFFFFF"/>
        </a:lt1>
        <a:dk2>
          <a:srgbClr val="000000"/>
        </a:dk2>
        <a:lt2>
          <a:srgbClr val="DCDCD8"/>
        </a:lt2>
        <a:accent1>
          <a:srgbClr val="F6AA00"/>
        </a:accent1>
        <a:accent2>
          <a:srgbClr val="5FC4F0"/>
        </a:accent2>
        <a:accent3>
          <a:srgbClr val="FFFFFF"/>
        </a:accent3>
        <a:accent4>
          <a:srgbClr val="525155"/>
        </a:accent4>
        <a:accent5>
          <a:srgbClr val="FAD2AA"/>
        </a:accent5>
        <a:accent6>
          <a:srgbClr val="55B1D9"/>
        </a:accent6>
        <a:hlink>
          <a:srgbClr val="ED7619"/>
        </a:hlink>
        <a:folHlink>
          <a:srgbClr val="BDD13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ruvo_internal_A4_template_PC 2">
        <a:dk1>
          <a:srgbClr val="616065"/>
        </a:dk1>
        <a:lt1>
          <a:srgbClr val="FFFFFF"/>
        </a:lt1>
        <a:dk2>
          <a:srgbClr val="000000"/>
        </a:dk2>
        <a:lt2>
          <a:srgbClr val="808080"/>
        </a:lt2>
        <a:accent1>
          <a:srgbClr val="0066FF"/>
        </a:accent1>
        <a:accent2>
          <a:srgbClr val="FFCC00"/>
        </a:accent2>
        <a:accent3>
          <a:srgbClr val="FFFFFF"/>
        </a:accent3>
        <a:accent4>
          <a:srgbClr val="525155"/>
        </a:accent4>
        <a:accent5>
          <a:srgbClr val="AAB8FF"/>
        </a:accent5>
        <a:accent6>
          <a:srgbClr val="E7B900"/>
        </a:accent6>
        <a:hlink>
          <a:srgbClr val="008000"/>
        </a:hlink>
        <a:folHlink>
          <a:srgbClr val="8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616065"/>
      </a:dk1>
      <a:lt1>
        <a:srgbClr val="FFFFFF"/>
      </a:lt1>
      <a:dk2>
        <a:srgbClr val="000000"/>
      </a:dk2>
      <a:lt2>
        <a:srgbClr val="DCDCD8"/>
      </a:lt2>
      <a:accent1>
        <a:srgbClr val="F6AA00"/>
      </a:accent1>
      <a:accent2>
        <a:srgbClr val="5FC4F0"/>
      </a:accent2>
      <a:accent3>
        <a:srgbClr val="FFFFFF"/>
      </a:accent3>
      <a:accent4>
        <a:srgbClr val="525155"/>
      </a:accent4>
      <a:accent5>
        <a:srgbClr val="FAD2AA"/>
      </a:accent5>
      <a:accent6>
        <a:srgbClr val="55B1D9"/>
      </a:accent6>
      <a:hlink>
        <a:srgbClr val="ED7619"/>
      </a:hlink>
      <a:folHlink>
        <a:srgbClr val="BDD13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616065"/>
      </a:dk1>
      <a:lt1>
        <a:srgbClr val="FFFFFF"/>
      </a:lt1>
      <a:dk2>
        <a:srgbClr val="000000"/>
      </a:dk2>
      <a:lt2>
        <a:srgbClr val="DCDCD8"/>
      </a:lt2>
      <a:accent1>
        <a:srgbClr val="F6AA00"/>
      </a:accent1>
      <a:accent2>
        <a:srgbClr val="5FC4F0"/>
      </a:accent2>
      <a:accent3>
        <a:srgbClr val="FFFFFF"/>
      </a:accent3>
      <a:accent4>
        <a:srgbClr val="525155"/>
      </a:accent4>
      <a:accent5>
        <a:srgbClr val="FAD2AA"/>
      </a:accent5>
      <a:accent6>
        <a:srgbClr val="55B1D9"/>
      </a:accent6>
      <a:hlink>
        <a:srgbClr val="ED7619"/>
      </a:hlink>
      <a:folHlink>
        <a:srgbClr val="BDD13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uvo_internal_A4_template_PC</Template>
  <TotalTime>2314</TotalTime>
  <Words>4668</Words>
  <Application>Microsoft Office PowerPoint</Application>
  <PresentationFormat>A4 Paper (210x297 mm)</PresentationFormat>
  <Paragraphs>1566</Paragraphs>
  <Slides>47</Slides>
  <Notes>2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7</vt:i4>
      </vt:variant>
    </vt:vector>
  </HeadingPairs>
  <TitlesOfParts>
    <vt:vector size="50" baseType="lpstr">
      <vt:lpstr>Truvo_internal_A4_template_PC</vt:lpstr>
      <vt:lpstr>think-cell Slide</vt:lpstr>
      <vt:lpstr>Worksheet</vt:lpstr>
      <vt:lpstr>Business Case Approval In-App Advertising</vt:lpstr>
      <vt:lpstr>Agenda</vt:lpstr>
      <vt:lpstr>In-App Advertising Executive summary</vt:lpstr>
      <vt:lpstr>Agenda</vt:lpstr>
      <vt:lpstr>Display Advertising in Mobile</vt:lpstr>
      <vt:lpstr>Slide 6</vt:lpstr>
      <vt:lpstr>Product – what it is (Yellow)</vt:lpstr>
      <vt:lpstr>Product – what it is (White)</vt:lpstr>
      <vt:lpstr>Placement</vt:lpstr>
      <vt:lpstr>Product – Format (Product specs)</vt:lpstr>
      <vt:lpstr>Product – Destination (Product specs)</vt:lpstr>
      <vt:lpstr>Product – Targeting (Product specs)</vt:lpstr>
      <vt:lpstr>Product – Targeting (Product specs)</vt:lpstr>
      <vt:lpstr>Product – Targeting (Product specs)</vt:lpstr>
      <vt:lpstr>Slide 15</vt:lpstr>
      <vt:lpstr>Product – what it is (Product specs)</vt:lpstr>
      <vt:lpstr>Product – what it is (Product specs)</vt:lpstr>
      <vt:lpstr>Product – what it is (Product specs)</vt:lpstr>
      <vt:lpstr>Product – what it is (Product specs)</vt:lpstr>
      <vt:lpstr>Traffic &amp; Business models</vt:lpstr>
      <vt:lpstr>Pricing – Yellow  </vt:lpstr>
      <vt:lpstr>Pricing - White </vt:lpstr>
      <vt:lpstr>Pricing – Yellow  </vt:lpstr>
      <vt:lpstr>Pricing - White </vt:lpstr>
      <vt:lpstr>Pricing – Yellow  </vt:lpstr>
      <vt:lpstr>Slide 26</vt:lpstr>
      <vt:lpstr>Slide 27</vt:lpstr>
      <vt:lpstr>Slide 28</vt:lpstr>
      <vt:lpstr>Agenda</vt:lpstr>
      <vt:lpstr>Impact Analysis - Product Definition In-App Advertising</vt:lpstr>
      <vt:lpstr>Impact Analysis - Sales  In-App Advertising</vt:lpstr>
      <vt:lpstr>Impact Analysis - Fulfilment  In-App Advertising</vt:lpstr>
      <vt:lpstr>Impact Analysis - Support In-App Advertising</vt:lpstr>
      <vt:lpstr>Impact Analysis - Reporting  In-App Advertising</vt:lpstr>
      <vt:lpstr>Impact Analysis – Summary and recommendations  Virtual Paper</vt:lpstr>
      <vt:lpstr>Agenda</vt:lpstr>
      <vt:lpstr>Slide 37</vt:lpstr>
      <vt:lpstr>Slide 38</vt:lpstr>
      <vt:lpstr>Slide 39</vt:lpstr>
      <vt:lpstr>Slide 40</vt:lpstr>
      <vt:lpstr>In-App Advertising Revenue forecast</vt:lpstr>
      <vt:lpstr>In-App Advertising Margin and Free Cash Flow forecast</vt:lpstr>
      <vt:lpstr>Agenda</vt:lpstr>
      <vt:lpstr>In-App Advertising High level project plan</vt:lpstr>
      <vt:lpstr>Virtual Paper Resources needed for implementation</vt:lpstr>
      <vt:lpstr>Virtual Paper Resources needed for Go-To-Market</vt:lpstr>
      <vt:lpstr>Agenda</vt:lpstr>
    </vt:vector>
  </TitlesOfParts>
  <Manager> </Manager>
  <Company> 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subject> </dc:subject>
  <dc:creator> </dc:creator>
  <cp:keywords> </cp:keywords>
  <dc:description> </dc:description>
  <cp:lastModifiedBy>Marco Gonçalves</cp:lastModifiedBy>
  <cp:revision>132</cp:revision>
  <dcterms:created xsi:type="dcterms:W3CDTF">2010-02-15T21:06:36Z</dcterms:created>
  <dcterms:modified xsi:type="dcterms:W3CDTF">2011-03-31T19:24:17Z</dcterms:modified>
  <cp:category> 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umberOfSlides">
    <vt:i4>39</vt:i4>
  </property>
  <property fmtid="{D5CDD505-2E9C-101B-9397-08002B2CF9AE}" pid="3" name="RevisionCount">
    <vt:i4>174</vt:i4>
  </property>
</Properties>
</file>